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compatMode="1" saveSubsetFonts="1" autoCompressPictures="0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256" r:id="rId2"/>
    <p:sldId id="424" r:id="rId3"/>
    <p:sldId id="425" r:id="rId4"/>
    <p:sldId id="394" r:id="rId5"/>
    <p:sldId id="397" r:id="rId6"/>
    <p:sldId id="333" r:id="rId7"/>
    <p:sldId id="405" r:id="rId8"/>
    <p:sldId id="406" r:id="rId9"/>
    <p:sldId id="408" r:id="rId10"/>
    <p:sldId id="409" r:id="rId11"/>
    <p:sldId id="410" r:id="rId12"/>
    <p:sldId id="434" r:id="rId13"/>
    <p:sldId id="430" r:id="rId14"/>
    <p:sldId id="422" r:id="rId15"/>
    <p:sldId id="419" r:id="rId16"/>
    <p:sldId id="420" r:id="rId17"/>
    <p:sldId id="421" r:id="rId18"/>
    <p:sldId id="432" r:id="rId19"/>
    <p:sldId id="411" r:id="rId20"/>
    <p:sldId id="344" r:id="rId21"/>
    <p:sldId id="429" r:id="rId22"/>
    <p:sldId id="287" r:id="rId23"/>
    <p:sldId id="426" r:id="rId24"/>
    <p:sldId id="427" r:id="rId25"/>
    <p:sldId id="435" r:id="rId26"/>
    <p:sldId id="428" r:id="rId27"/>
    <p:sldId id="423" r:id="rId28"/>
    <p:sldId id="431" r:id="rId29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6699"/>
    <a:srgbClr val="B5ABFB"/>
    <a:srgbClr val="948FD9"/>
    <a:srgbClr val="F2F2F2"/>
    <a:srgbClr val="5ECB1B"/>
    <a:srgbClr val="B2D700"/>
    <a:srgbClr val="A5FD4D"/>
    <a:srgbClr val="CDFE9C"/>
    <a:srgbClr val="D3FE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0658" autoAdjust="0"/>
    <p:restoredTop sz="96547" autoAdjust="0"/>
  </p:normalViewPr>
  <p:slideViewPr>
    <p:cSldViewPr snapToGrid="0" snapToObjects="1">
      <p:cViewPr>
        <p:scale>
          <a:sx n="86" d="100"/>
          <a:sy n="86" d="100"/>
        </p:scale>
        <p:origin x="-600" y="-6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8" d="100"/>
        <a:sy n="138" d="100"/>
      </p:scale>
      <p:origin x="0" y="3420"/>
    </p:cViewPr>
  </p:sorterViewPr>
  <p:notesViewPr>
    <p:cSldViewPr snapToGrid="0" snapToObjects="1">
      <p:cViewPr varScale="1">
        <p:scale>
          <a:sx n="77" d="100"/>
          <a:sy n="77" d="100"/>
        </p:scale>
        <p:origin x="-3966" y="-8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Golubina\Desktop\&#1051;&#1080;&#1089;&#1090;%20Microsoft%20Exce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2!$C$2</c:f>
              <c:strCache>
                <c:ptCount val="1"/>
                <c:pt idx="0">
                  <c:v>Цель</c:v>
                </c:pt>
              </c:strCache>
            </c:strRef>
          </c:tx>
          <c:invertIfNegative val="0"/>
          <c:cat>
            <c:strRef>
              <c:f>Лист2!$B$3:$B$5</c:f>
              <c:strCache>
                <c:ptCount val="3"/>
                <c:pt idx="0">
                  <c:v>А</c:v>
                </c:pt>
                <c:pt idx="1">
                  <c:v>Б</c:v>
                </c:pt>
                <c:pt idx="2">
                  <c:v>В</c:v>
                </c:pt>
              </c:strCache>
            </c:strRef>
          </c:cat>
          <c:val>
            <c:numRef>
              <c:f>Лист2!$C$3:$C$5</c:f>
              <c:numCache>
                <c:formatCode>General</c:formatCode>
                <c:ptCount val="3"/>
                <c:pt idx="0">
                  <c:v>45.0</c:v>
                </c:pt>
                <c:pt idx="1">
                  <c:v>31.0</c:v>
                </c:pt>
                <c:pt idx="2">
                  <c:v>100.0</c:v>
                </c:pt>
              </c:numCache>
            </c:numRef>
          </c:val>
        </c:ser>
        <c:ser>
          <c:idx val="1"/>
          <c:order val="1"/>
          <c:tx>
            <c:strRef>
              <c:f>Лист2!$D$2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336699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4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5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B$3:$B$5</c:f>
              <c:strCache>
                <c:ptCount val="3"/>
                <c:pt idx="0">
                  <c:v>А</c:v>
                </c:pt>
                <c:pt idx="1">
                  <c:v>Б</c:v>
                </c:pt>
                <c:pt idx="2">
                  <c:v>В</c:v>
                </c:pt>
              </c:strCache>
            </c:strRef>
          </c:cat>
          <c:val>
            <c:numRef>
              <c:f>Лист2!$D$3:$D$5</c:f>
              <c:numCache>
                <c:formatCode>General</c:formatCode>
                <c:ptCount val="3"/>
                <c:pt idx="0">
                  <c:v>44.0</c:v>
                </c:pt>
                <c:pt idx="1">
                  <c:v>29.0</c:v>
                </c:pt>
                <c:pt idx="2">
                  <c:v>52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92560232"/>
        <c:axId val="-2096866456"/>
      </c:barChart>
      <c:catAx>
        <c:axId val="-2092560232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96866456"/>
        <c:crosses val="autoZero"/>
        <c:auto val="1"/>
        <c:lblAlgn val="ctr"/>
        <c:lblOffset val="100"/>
        <c:noMultiLvlLbl val="0"/>
      </c:catAx>
      <c:valAx>
        <c:axId val="-2096866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-209256023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9520893834985"/>
          <c:y val="0.29206375671319"/>
          <c:w val="0.60834787506466"/>
          <c:h val="0.58015834972478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41667287306671</c:v>
                </c:pt>
                <c:pt idx="1">
                  <c:v>0.3583327126933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9520893834985"/>
          <c:y val="0.29206375671319"/>
          <c:w val="0.60834787506466"/>
          <c:h val="0.58015834972478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83039419087137</c:v>
                </c:pt>
                <c:pt idx="1">
                  <c:v>0.4169605809128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7"/>
    </mc:Choice>
    <mc:Fallback>
      <c:style val="1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94583469103"/>
          <c:y val="0.196874880805564"/>
          <c:w val="0.691215063777099"/>
          <c:h val="0.7331888998492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менение за август 2012</c:v>
                </c:pt>
              </c:strCache>
            </c:strRef>
          </c:tx>
          <c:spPr>
            <a:solidFill>
              <a:schemeClr val="bg2">
                <a:lumMod val="95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КОСМ</c:v>
                </c:pt>
                <c:pt idx="1">
                  <c:v>ЯТ</c:v>
                </c:pt>
                <c:pt idx="2">
                  <c:v>ЭЭ</c:v>
                </c:pt>
                <c:pt idx="3">
                  <c:v>ИКТ</c:v>
                </c:pt>
                <c:pt idx="4">
                  <c:v>БМТ</c:v>
                </c:pt>
                <c:pt idx="5">
                  <c:v>Всего: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.0</c:v>
                </c:pt>
                <c:pt idx="1">
                  <c:v>1.0</c:v>
                </c:pt>
                <c:pt idx="2">
                  <c:v>10.0</c:v>
                </c:pt>
                <c:pt idx="3">
                  <c:v>12.0</c:v>
                </c:pt>
                <c:pt idx="4">
                  <c:v>8.0</c:v>
                </c:pt>
                <c:pt idx="5">
                  <c:v>37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86394104"/>
        <c:axId val="-2086391128"/>
      </c:barChart>
      <c:catAx>
        <c:axId val="-2086394104"/>
        <c:scaling>
          <c:orientation val="minMax"/>
        </c:scaling>
        <c:delete val="1"/>
        <c:axPos val="l"/>
        <c:majorTickMark val="out"/>
        <c:minorTickMark val="none"/>
        <c:tickLblPos val="nextTo"/>
        <c:crossAx val="-2086391128"/>
        <c:crosses val="autoZero"/>
        <c:auto val="1"/>
        <c:lblAlgn val="ctr"/>
        <c:lblOffset val="100"/>
        <c:noMultiLvlLbl val="0"/>
      </c:catAx>
      <c:valAx>
        <c:axId val="-2086391128"/>
        <c:scaling>
          <c:orientation val="minMax"/>
          <c:max val="35.0"/>
          <c:min val="0.0"/>
        </c:scaling>
        <c:delete val="1"/>
        <c:axPos val="b"/>
        <c:numFmt formatCode="General" sourceLinked="1"/>
        <c:majorTickMark val="out"/>
        <c:minorTickMark val="none"/>
        <c:tickLblPos val="nextTo"/>
        <c:crossAx val="-20863941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bg1">
              <a:lumMod val="25000"/>
            </a:schemeClr>
          </a:solidFill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09703723872681"/>
          <c:y val="0.141978646659835"/>
          <c:w val="0.642448669845086"/>
          <c:h val="0.1649275868328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0 год</c:v>
                </c:pt>
              </c:strCache>
            </c:strRef>
          </c:tx>
          <c:spPr>
            <a:solidFill>
              <a:srgbClr val="666666">
                <a:lumMod val="60000"/>
                <a:lumOff val="40000"/>
              </a:srgbClr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874.256</c:v>
                </c:pt>
                <c:pt idx="1">
                  <c:v>2958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1 год</c:v>
                </c:pt>
              </c:strCache>
            </c:strRef>
          </c:tx>
          <c:spPr>
            <a:solidFill>
              <a:srgbClr val="FFFFFF">
                <a:lumMod val="85000"/>
              </a:srgb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214.558839</c:v>
                </c:pt>
                <c:pt idx="1">
                  <c:v>2664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 1 января по 31 октября 2012 года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Всего (перечислено)</c:v>
                </c:pt>
                <c:pt idx="1">
                  <c:v>Всего (одобрено)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2347.5786002</c:v>
                </c:pt>
                <c:pt idx="1">
                  <c:v>2752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-2086257208"/>
        <c:axId val="-2086254088"/>
      </c:barChart>
      <c:catAx>
        <c:axId val="-20862572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86254088"/>
        <c:crosses val="autoZero"/>
        <c:auto val="0"/>
        <c:lblAlgn val="ctr"/>
        <c:lblOffset val="100"/>
        <c:noMultiLvlLbl val="0"/>
      </c:catAx>
      <c:valAx>
        <c:axId val="-2086254088"/>
        <c:scaling>
          <c:orientation val="minMax"/>
          <c:max val="8100.0"/>
          <c:min val="0.0"/>
        </c:scaling>
        <c:delete val="0"/>
        <c:axPos val="b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-2086257208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.109812663674099"/>
          <c:y val="0.0881543164206914"/>
          <c:w val="0.737191284586324"/>
          <c:h val="0.0505101320127317"/>
        </c:manualLayout>
      </c:layout>
      <c:overlay val="0"/>
      <c:spPr>
        <a:noFill/>
      </c:spPr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noFill/>
    <a:ln>
      <a:solidFill>
        <a:srgbClr val="FFFFFF"/>
      </a:solidFill>
    </a:ln>
  </c:spPr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47660508782556"/>
          <c:y val="0.114629868107436"/>
          <c:w val="0.837157026044821"/>
          <c:h val="0.6130756382724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Одобрено грантов в 2012 году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.00769230769230771"/>
                  <c:y val="0.020898641588296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384600242277408"/>
                  <c:y val="0.016718584158171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ru-RU" sz="1200" dirty="0" smtClean="0">
                        <a:solidFill>
                          <a:schemeClr val="bg1">
                            <a:lumMod val="25000"/>
                          </a:schemeClr>
                        </a:solidFill>
                      </a:rPr>
                      <a:t>32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>
                        <a:lumMod val="25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ИКТ</c:v>
                </c:pt>
                <c:pt idx="1">
                  <c:v>ЭнЭф</c:v>
                </c:pt>
                <c:pt idx="2">
                  <c:v>Био</c:v>
                </c:pt>
                <c:pt idx="3">
                  <c:v>ЯТ</c:v>
                </c:pt>
                <c:pt idx="4">
                  <c:v>Косм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1631.50851537</c:v>
                </c:pt>
                <c:pt idx="1">
                  <c:v>397.2798179899999</c:v>
                </c:pt>
                <c:pt idx="2">
                  <c:v>228.582132</c:v>
                </c:pt>
                <c:pt idx="3">
                  <c:v>142.622826</c:v>
                </c:pt>
                <c:pt idx="4">
                  <c:v>352.08979165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еречислено грантов в 2012 году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025"/>
                  <c:y val="0.004179399205193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134615384615385"/>
                  <c:y val="-0.0041797283176592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69230769230769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173076923076923"/>
                  <c:y val="-0.0083594566353187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384615384615385"/>
                  <c:y val="0.016718913270637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>
                        <a:lumMod val="25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ИКТ</c:v>
                </c:pt>
                <c:pt idx="1">
                  <c:v>ЭнЭф</c:v>
                </c:pt>
                <c:pt idx="2">
                  <c:v>Био</c:v>
                </c:pt>
                <c:pt idx="3">
                  <c:v>ЯТ</c:v>
                </c:pt>
                <c:pt idx="4">
                  <c:v>Косм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918.55991792</c:v>
                </c:pt>
                <c:pt idx="1">
                  <c:v>689.33773618</c:v>
                </c:pt>
                <c:pt idx="2">
                  <c:v>495.9914189999999</c:v>
                </c:pt>
                <c:pt idx="3">
                  <c:v>115.156525</c:v>
                </c:pt>
                <c:pt idx="4">
                  <c:v>128.53300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86197432"/>
        <c:axId val="-2086194184"/>
      </c:barChart>
      <c:catAx>
        <c:axId val="-20861974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1">
                    <a:lumMod val="25000"/>
                  </a:schemeClr>
                </a:solidFill>
              </a:defRPr>
            </a:pPr>
            <a:endParaRPr lang="ru-RU"/>
          </a:p>
        </c:txPr>
        <c:crossAx val="-2086194184"/>
        <c:crosses val="autoZero"/>
        <c:auto val="1"/>
        <c:lblAlgn val="ctr"/>
        <c:lblOffset val="100"/>
        <c:noMultiLvlLbl val="0"/>
      </c:catAx>
      <c:valAx>
        <c:axId val="-2086194184"/>
        <c:scaling>
          <c:orientation val="minMax"/>
          <c:max val="1750.0"/>
          <c:min val="0.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1">
                    <a:lumMod val="25000"/>
                  </a:schemeClr>
                </a:solidFill>
              </a:defRPr>
            </a:pPr>
            <a:endParaRPr lang="ru-RU"/>
          </a:p>
        </c:txPr>
        <c:crossAx val="-2086197432"/>
        <c:crosses val="autoZero"/>
        <c:crossBetween val="between"/>
        <c:majorUnit val="400.0"/>
      </c:valAx>
    </c:plotArea>
    <c:legend>
      <c:legendPos val="t"/>
      <c:overlay val="0"/>
      <c:txPr>
        <a:bodyPr/>
        <a:lstStyle/>
        <a:p>
          <a:pPr>
            <a:defRPr sz="1200">
              <a:solidFill>
                <a:schemeClr val="bg1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Аккредитация инвестиционных фондов</a:t>
            </a:r>
          </a:p>
        </c:rich>
      </c:tx>
      <c:layout>
        <c:manualLayout>
          <c:xMode val="edge"/>
          <c:yMode val="edge"/>
          <c:x val="0.16204580994384"/>
          <c:y val="0.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687379163667982"/>
          <c:y val="0.436901892953975"/>
          <c:w val="0.891622708527526"/>
          <c:h val="0.31216936915738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1 год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млрд. руб.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9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2 год</c:v>
                </c:pt>
              </c:strCache>
            </c:strRef>
          </c:tx>
          <c:spPr>
            <a:solidFill>
              <a:schemeClr val="bg2">
                <a:lumMod val="95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млрд. руб.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9.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-2086048168"/>
        <c:axId val="-2086045160"/>
      </c:barChart>
      <c:dateAx>
        <c:axId val="-208604816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-2086045160"/>
        <c:crosses val="autoZero"/>
        <c:auto val="0"/>
        <c:lblOffset val="100"/>
        <c:baseTimeUnit val="days"/>
      </c:dateAx>
      <c:valAx>
        <c:axId val="-2086045160"/>
        <c:scaling>
          <c:orientation val="minMax"/>
          <c:max val="19.0"/>
          <c:min val="0.0"/>
        </c:scaling>
        <c:delete val="0"/>
        <c:axPos val="b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-2086048168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.0"/>
          <c:y val="0.246475026164161"/>
          <c:w val="0.962518042885116"/>
          <c:h val="0.239691751676231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solidFill>
      <a:schemeClr val="bg2">
        <a:alpha val="99000"/>
      </a:schemeClr>
    </a:solidFill>
    <a:ln>
      <a:noFill/>
    </a:ln>
  </c:spPr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35591-7D05-BA47-A59A-5AD2816770DC}" type="datetimeFigureOut">
              <a:rPr lang="en-US" smtClean="0"/>
              <a:t>13.11.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A2787F-524F-354C-894D-2DEBC8CD63E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0753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49B72-4300-304A-A7A0-BE77DA9E4333}" type="datetimeFigureOut">
              <a:rPr lang="en-US" smtClean="0"/>
              <a:t>13.11.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11A003-8680-8C40-94C4-E84E19A3E4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6243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05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2361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725C74-95DD-4059-B11B-683323D8F3F7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244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1A003-8680-8C40-94C4-E84E19A3E453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859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2382747"/>
            <a:ext cx="3991429" cy="1632857"/>
          </a:xfrm>
          <a:prstGeom prst="rect">
            <a:avLst/>
          </a:prstGeom>
        </p:spPr>
        <p:txBody>
          <a:bodyPr/>
          <a:lstStyle>
            <a:lvl1pPr algn="r">
              <a:defRPr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3098429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 о деятельности Фонда «Сколково», октябрь 2012</a:t>
            </a:r>
          </a:p>
        </p:txBody>
      </p:sp>
    </p:spTree>
    <p:extLst>
      <p:ext uri="{BB962C8B-B14F-4D97-AF65-F5344CB8AC3E}">
        <p14:creationId xmlns:p14="http://schemas.microsoft.com/office/powerpoint/2010/main" val="36904601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3056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3098427" y="3237286"/>
            <a:ext cx="6590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399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V="1">
            <a:off x="0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 flipV="1">
            <a:off x="770622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 flipV="1">
            <a:off x="1541244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flipV="1">
            <a:off x="2311866" y="6474374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flipV="1">
            <a:off x="3077499" y="6474374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V="1">
            <a:off x="3848121" y="6474374"/>
            <a:ext cx="770622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flipV="1">
            <a:off x="4618743" y="6474374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flipV="1">
            <a:off x="5389365" y="6474374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flipV="1">
            <a:off x="6159987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 flipV="1">
            <a:off x="6930609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flipV="1">
            <a:off x="7701231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8471853" y="6474372"/>
            <a:ext cx="672147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 flipV="1">
            <a:off x="0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770622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 flipV="1">
            <a:off x="1541244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 flipV="1">
            <a:off x="2306877" y="6078412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 flipV="1">
            <a:off x="3848121" y="6078412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 flipV="1">
            <a:off x="4618743" y="6078412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 flipV="1">
            <a:off x="5389365" y="6078412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 flipV="1">
            <a:off x="6159987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6930609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 flipV="1">
            <a:off x="7701231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 flipV="1">
            <a:off x="8471854" y="6078408"/>
            <a:ext cx="672146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/>
          <p:cNvSpPr/>
          <p:nvPr userDrawn="1"/>
        </p:nvSpPr>
        <p:spPr>
          <a:xfrm flipV="1">
            <a:off x="1536255" y="5682451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 flipV="1">
            <a:off x="3077499" y="5682451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/>
          <p:cNvSpPr/>
          <p:nvPr userDrawn="1"/>
        </p:nvSpPr>
        <p:spPr>
          <a:xfrm flipV="1">
            <a:off x="6159987" y="5682451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 userDrawn="1"/>
        </p:nvSpPr>
        <p:spPr>
          <a:xfrm flipV="1">
            <a:off x="765633" y="5286490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67"/>
          <p:cNvSpPr/>
          <p:nvPr userDrawn="1"/>
        </p:nvSpPr>
        <p:spPr>
          <a:xfrm flipV="1">
            <a:off x="5389365" y="5286490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/>
          <p:cNvSpPr/>
          <p:nvPr userDrawn="1"/>
        </p:nvSpPr>
        <p:spPr>
          <a:xfrm flipV="1">
            <a:off x="8471853" y="5682450"/>
            <a:ext cx="672147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Плитка</a:t>
            </a:r>
            <a:endParaRPr lang="en-US" dirty="0"/>
          </a:p>
        </p:txBody>
      </p:sp>
      <p:sp>
        <p:nvSpPr>
          <p:cNvPr id="44" name="Прямоугольник 43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/>
          <p:cNvSpPr txBox="1"/>
          <p:nvPr userDrawn="1"/>
        </p:nvSpPr>
        <p:spPr>
          <a:xfrm rot="16200000">
            <a:off x="-3082493" y="3237286"/>
            <a:ext cx="6558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18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октябрь 2012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093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72" r:id="rId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3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3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3.png"/><Relationship Id="rId5" Type="http://schemas.openxmlformats.org/officeDocument/2006/relationships/image" Target="../media/image21.png"/><Relationship Id="rId6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gif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343400" y="1935087"/>
            <a:ext cx="4663017" cy="2189238"/>
          </a:xfrm>
        </p:spPr>
        <p:txBody>
          <a:bodyPr>
            <a:normAutofit/>
          </a:bodyPr>
          <a:lstStyle/>
          <a:p>
            <a:r>
              <a:rPr lang="ru-RU" sz="3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 О РАБОТЕ ФОНДА «СКОЛКОВО» ЗА ОКТЯБРЬ 2012г</a:t>
            </a:r>
            <a:endParaRPr lang="en-US" sz="30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63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71525" y="1374880"/>
            <a:ext cx="56640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зентация компании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oytemic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вошл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список 50 лучших н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ioneers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estival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8199" y="2332227"/>
            <a:ext cx="7855214" cy="95410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то интегральная прикладная технология, обеспечивающая формирование и развитие беспроводных сетей мобильных и самодвижущихся устройств в зоне персонального действия (до 10м), а также управление любым из этих устройств или группой произвольно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бранных устройст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единого простого пульта ДУ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8199" y="1971438"/>
            <a:ext cx="4967516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8205" y="3707232"/>
            <a:ext cx="789016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0"/>
          <p:cNvSpPr/>
          <p:nvPr/>
        </p:nvSpPr>
        <p:spPr>
          <a:xfrm>
            <a:off x="838205" y="4052374"/>
            <a:ext cx="7890164" cy="738664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«Стратегия-на-ковре» - это самоорганизующиеся сенсорные сети с подвижными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злами, способные не только взаимодействовать "каждый с каждым", но и определять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заимное расположение и ориентацию в окружающе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странств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404472"/>
            <a:ext cx="789016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 и перспективы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107" y="8693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3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 descr=" 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41" y="1374880"/>
            <a:ext cx="2136233" cy="747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0"/>
          <p:cNvSpPr/>
          <p:nvPr/>
        </p:nvSpPr>
        <p:spPr>
          <a:xfrm>
            <a:off x="838199" y="5773804"/>
            <a:ext cx="7890164" cy="523220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ой рынок – рынок игр, который в 2011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у, по оценкам экспертов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стиг объема 125 млрд. долл. США</a:t>
            </a:r>
          </a:p>
        </p:txBody>
      </p:sp>
    </p:spTree>
    <p:extLst>
      <p:ext uri="{BB962C8B-B14F-4D97-AF65-F5344CB8AC3E}">
        <p14:creationId xmlns:p14="http://schemas.microsoft.com/office/powerpoint/2010/main" val="9704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44618" y="1460511"/>
            <a:ext cx="6194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Lab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оздала самый точный распознаватель речи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ир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59673" y="2511678"/>
            <a:ext cx="7827223" cy="116955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- это реализация системы, которая позволит максимально естественно общаться дистанционно с помощью голоса человеку и компьютеру. При этом на основе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стории голосов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запросо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ользователя систем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будет самостоятельно создавать индивидуальный портрет человека, что позволит программе предоставлять ему персонализированные рекомендации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веты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013" y="2144239"/>
            <a:ext cx="587460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59673" y="3834148"/>
            <a:ext cx="782722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0"/>
          <p:cNvSpPr/>
          <p:nvPr/>
        </p:nvSpPr>
        <p:spPr>
          <a:xfrm>
            <a:off x="854012" y="4203480"/>
            <a:ext cx="7818929" cy="523220"/>
          </a:xfrm>
          <a:prstGeom prst="rect">
            <a:avLst/>
          </a:prstGeom>
          <a:noFill/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ервые результаты испытания показатели, что видео надстройк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ealSpeak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о точности распознавания реч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учше по сравнению с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oogle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peech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nput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0210" y="5389855"/>
            <a:ext cx="77775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соответствии с исследованиям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avi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данный момент использовано только 15-20% потенциала рынка распознавания речи. При этом на страны Северной Америки приходиться 70% рынка распознавания речи. Общий прогноз затрат на речевые технологии в мире в 2010 году прогнозировалс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avi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размере 613 млн. $., а в 2013 году рынок распознавания речи достигнет отметки: 933 млн. $. (с темпом роста 15% в год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)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9673" y="5027206"/>
            <a:ext cx="7778062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70689" y="5389854"/>
            <a:ext cx="7767045" cy="1169552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4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107" y="8693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 descr="http://community.sk.ru/resized-image.ashx/__size/300x150/__key/communityserver-components-groupavatars/00-00-00-10-36/4TM73I020AG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689" y="1399479"/>
            <a:ext cx="1082675" cy="1015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01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системы образования в «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. Развитие проекта 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тех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7762" y="1503543"/>
            <a:ext cx="7519761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857764" y="1871774"/>
            <a:ext cx="7519760" cy="3746828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ось заседание попечительского совета Сколтеха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твержден операционный план Сколтех на 2013 год, параметры компенсации персонала, положения о комитетах Совета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гласованы и одобрены основные условия генерального соглашения о создании  Центров науки, образований и инноваций Сколтеха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ены переговоры и согласованы параметры исследовательской работы и финансирования с университетами-партнерами (Массачусетский Технологический Институт, Московский Государственный Университет им. Ломоносова, Институт общей энергетики им. Вавилова, Медицинский центр университета 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ронингена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Юго-западное отд. Университета Техаса)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лучены новые взносы в целевой капитал Сколтех, объем которого достиг 460 млн. руб.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рамках работы консультативных промышленных групп подписаны соглашения о сотрудничестве и проведении совместных исследования с ОАО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оронпром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ОАО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ралВагонЗавод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ОАО «Ростелеком», компанией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ntel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83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519762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системы образования в «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. Развитие проекта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УС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857759" y="1843590"/>
            <a:ext cx="7519762" cy="322929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ся II Фестиваль актуального научного кино 360°, организованный ОтУС, Фондом Сколково и Политехническим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узеем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вместно с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MC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ВШЭ состоялась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нференци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я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Data Science Summit Russia </a:t>
            </a:r>
            <a:r>
              <a:rPr lang="en-US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012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ся совместный с ИТ Кластером семинар  «Сколково - Участникам! Участники - Сколково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!»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шло подведение итогов партнерского с ОтУС конкурса научных работ «Авангард Знаний» и экспертная дискуссия об оптимизации процесса внедрения инновационных разработок российских ученых в области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едицины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пущены программы ОтУС «БиоМедТех»,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Push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вой проект», «Управление рисками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ись лекции и семинары по разным темам, включая направление «Интеллектуальная собственность», партнерский проект </a:t>
            </a: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icrosoft University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т.д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2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88248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Технопарк «</a:t>
            </a:r>
            <a:r>
              <a:rPr lang="ru-RU" dirty="0" err="1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Сколково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HelveticaNeueCyr-Roman"/>
                <a:cs typeface="HelveticaNeueCyr-Roman"/>
              </a:rPr>
              <a:t>»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хнопарк «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842490"/>
            <a:ext cx="7882483" cy="441870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spcBef>
                <a:spcPts val="0"/>
              </a:spcBef>
              <a:buFont typeface="Wingdings" pitchFamily="2" charset="2"/>
              <a:buChar char="§"/>
            </a:pPr>
            <a:endParaRPr lang="ru-RU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buClrTx/>
              <a:buFont typeface="Wingdings" pitchFamily="2" charset="2"/>
              <a:buChar char="§"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57757" y="1859986"/>
            <a:ext cx="7882482" cy="448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/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еспечение участников оборудованием (ЦКП, ЦКО):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о 10 заказов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ключая заказ ключевого партнёра (Сименс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комплектована лаборатория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D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титипирование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еспечение участников офисом: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ается заселение финалистов конкурса «Стань первым в Сколково!» в Гиперкуб</a:t>
            </a: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ноябрь: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укомплектация оборудования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лаборатории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Мехобработка» (ЦКП «Прототипирование»)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ключение новых договоров на аренду помещений в здании Урал и в здании Гиперкуб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изово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-миграционную поддержку, подбор персонала силами Кадрового Центра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помощью сайт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колково, услуги Бизнес-Тренеров, работа «Школы бухгалтеров», запуск сервиса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Дежурный бизнес-тренер»,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нформационная поддержка проекта Сколково силами справочно-информационного консультационного центра Технопарка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ключение новых договоров на участие в семинарах и тренингах ТПС, новых договоров по участию в международных программах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5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84532"/>
            <a:ext cx="7324219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оительство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новационного города «Сколково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842491"/>
            <a:ext cx="7324220" cy="236991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spcBef>
                <a:spcPts val="0"/>
              </a:spcBef>
              <a:buFont typeface="Wingdings" pitchFamily="2" charset="2"/>
              <a:buChar char="§"/>
            </a:pPr>
            <a:endParaRPr lang="ru-RU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buClrTx/>
              <a:buFont typeface="Wingdings" pitchFamily="2" charset="2"/>
              <a:buChar char="§"/>
            </a:pP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57755" y="1842491"/>
            <a:ext cx="732422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ы проектные работы и работы подготовительного периода по кварталам апартаментов и социальной инфраструктуры (кварталы 9-11 и 14 района D2)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 основной объём строительства временных дорог и сетей для механизации СМР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 основной объём подготовительных работ на территории ИЦ «Сколково»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о армирование и заливка основания и стенок коллектора на 3-х строительных участках Бульвара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а разработка траншеи и прокладка сети ливневой канализации на участке протяженностью метров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800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5847" y="4314173"/>
            <a:ext cx="732422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873938" y="4673275"/>
            <a:ext cx="7316129" cy="1644581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»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работы подготовительного периода по кварталам апартаментов и социальной инфраструктуры (кварталы 9-11 и 14 района D2)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прокладку сетей ливневой канализации с обустройством колодцев по 2,3-му строительному участку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го Бульвара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ить монтаж кабельных коллекторов на 2,3-м строительном участке,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ить обустройство контрольно-пропускных пунктов инженерно-техническими средствами охраны (ИТСО)</a:t>
            </a:r>
          </a:p>
          <a:p>
            <a:pPr marL="285750" indent="-285750"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15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42867" y="397314"/>
            <a:ext cx="6653175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здание инженерной и транспортной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раструктуры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1056" y="3458529"/>
            <a:ext cx="4122315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11047" y="3458996"/>
            <a:ext cx="3884995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1056" y="3797083"/>
            <a:ext cx="4122315" cy="2677656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й Бульвар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участке Бульвар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линой 1800 м в траншее ведется устройство бетонной подготовки и армирование каркаса основания и стенок коллектора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полном объеме выдан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производство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бочая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кументация по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ульвару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участке длиной 2470 м выполнена разработка траншеи под коллектор и дождевую канализацию, обустройство основания трубы дождевой канализации</a:t>
            </a: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ки </a:t>
            </a: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ощадки: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ы основные работы 90%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11047" y="3792438"/>
            <a:ext cx="3884995" cy="2677656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ой Бульвар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зработк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дач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бочей документации по инженерным сетям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рогам вне Бульвара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прокладки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тей ливневой канализации с обустройством колодцев по начатым участкам 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монтажных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абельных коллекторов на 2,3-м строительных участках</a:t>
            </a: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 подготовки площадки:</a:t>
            </a:r>
            <a:endParaRPr lang="ru-RU" sz="12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вершение обустройства ограждения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ерритории стройплощадки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устройства КПП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 ИТСО</a:t>
            </a:r>
          </a:p>
        </p:txBody>
      </p:sp>
      <p:pic>
        <p:nvPicPr>
          <p:cNvPr id="11" name="Рисунок 9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056" y="1287262"/>
            <a:ext cx="2683933" cy="2041864"/>
          </a:xfrm>
          <a:prstGeom prst="rect">
            <a:avLst/>
          </a:prstGeom>
        </p:spPr>
      </p:pic>
      <p:pic>
        <p:nvPicPr>
          <p:cNvPr id="12" name="Рисунок 21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9594" y="1287262"/>
            <a:ext cx="2722159" cy="2042904"/>
          </a:xfrm>
          <a:prstGeom prst="rect">
            <a:avLst/>
          </a:prstGeom>
        </p:spPr>
      </p:pic>
      <p:pic>
        <p:nvPicPr>
          <p:cNvPr id="13" name="Рисунок 45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317" y="1287262"/>
            <a:ext cx="2600725" cy="204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42867" y="397314"/>
            <a:ext cx="6801733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здание кварталов апарт-отелей и социальной инфраструктуры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1056" y="3458529"/>
            <a:ext cx="4478568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окт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44029" y="3458996"/>
            <a:ext cx="3700569" cy="33855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ноябрь</a:t>
            </a:r>
            <a:endParaRPr lang="ru-RU" sz="16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1056" y="3797083"/>
            <a:ext cx="4478568" cy="234525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ирование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ы работы по разработке проектной документации стадии «ПД» по кварталам №9, 10, 11 и 14 района 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2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ительные работы: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дутся работы по устройству временных дорог и площадок под бытовые городки и складирование материалов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ка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ания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дорог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стройство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ограждений строительной площадки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ие инженерных изыскан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244029" y="3792438"/>
            <a:ext cx="3700571" cy="230832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ектирование: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 разработке проектной документации стадии «ПД» по кварталам №9, 10, 11 и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4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йона 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2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defRPr/>
            </a:pPr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готовительные работы: 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должение работ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 устройству временных дорог и площадок под бытовые городки и складирование материалов;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стройство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ременных ограждений строительной площадки;</a:t>
            </a:r>
          </a:p>
          <a:p>
            <a:pPr marL="171450" indent="-171450">
              <a:spcBef>
                <a:spcPct val="20000"/>
              </a:spcBef>
              <a:buClr>
                <a:schemeClr val="bg1">
                  <a:lumMod val="2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ыполнение инженерных изысканий</a:t>
            </a:r>
          </a:p>
        </p:txBody>
      </p:sp>
      <p:pic>
        <p:nvPicPr>
          <p:cNvPr id="1027" name="Picture 3" descr="D:\D2_ЖИЛЬЕ\ФОТО\20121030\P1000410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056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D2_ЖИЛЬЕ\ФОТО\20121030\P1000424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9876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D2_ЖИЛЬЕ\ФОТО\20121030\P1000422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00" y="1287262"/>
            <a:ext cx="2721600" cy="204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461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31"/>
          <p:cNvSpPr/>
          <p:nvPr/>
        </p:nvSpPr>
        <p:spPr>
          <a:xfrm>
            <a:off x="666750" y="4579297"/>
            <a:ext cx="4833298" cy="203996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31"/>
          <p:cNvSpPr/>
          <p:nvPr/>
        </p:nvSpPr>
        <p:spPr>
          <a:xfrm>
            <a:off x="846666" y="272453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6" y="1418304"/>
            <a:ext cx="800260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 и подготовлен ряд встреч и переговоров, включая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тречу Президента Фонда с Принцем Майклом Кентским для обсуждения взаимодействия Фонда с Английскими компаниями</a:t>
            </a: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тречу с университетом Назарбаева, для обсуждения сотрудничества и обмены опытом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ереговоры с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echnology Pioneers,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мирного Экономического Форума, с целью включения Кластера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нергоэффективности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в работу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рда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и обсуждение возможного включения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тартапов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е 2012 года о Фонде Сколково вышло более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30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убликаций в зарубежных СМИ, включая: </a:t>
            </a:r>
          </a:p>
          <a:p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endParaRPr lang="en-US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BBC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Reuters, Dow Jones,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uronews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orbes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he Economist, La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Republica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Italia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ggi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Le Monde, El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ais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The Independent, Thai News, Service,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orriere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ANSA, 	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gence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France 	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ress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HT Global Insights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Telegraph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Xinhua News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gency,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Bangkok Post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р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публикаций в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 2012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а, по сравнению с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ентябрем 2012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ода выросло более чем на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2%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195927" y="405694"/>
            <a:ext cx="4913852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Международная 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>PR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активность Фонда «</a:t>
            </a:r>
            <a:r>
              <a:rPr lang="ru-RU" sz="2400" dirty="0" err="1" smtClean="0">
                <a:solidFill>
                  <a:schemeClr val="bg1">
                    <a:lumMod val="50000"/>
                  </a:schemeClr>
                </a:solidFill>
              </a:rPr>
              <a:t>Сколково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»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3124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Прямоугольник 61"/>
          <p:cNvSpPr/>
          <p:nvPr/>
        </p:nvSpPr>
        <p:spPr>
          <a:xfrm>
            <a:off x="3529628" y="2533650"/>
            <a:ext cx="1726056" cy="30462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1" kern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ь</a:t>
            </a:r>
            <a:r>
              <a: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2012</a:t>
            </a:r>
            <a:endParaRPr kumimoji="0" lang="ru-RU" sz="13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05576" y="2357870"/>
            <a:ext cx="2520979" cy="646331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3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Гиперкубе прошла деловая программа Форума «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lobal Innovation Partnership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05576" y="3179560"/>
            <a:ext cx="2520979" cy="1015663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4.10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ице-Президент Торговой палаты США по Европе и Евразии Гари 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итман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ознакомился с Технопарком и Гиперкубом «Сколково»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7406" y="4362419"/>
            <a:ext cx="2529149" cy="2123658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5.10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ше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вместный семинар Открытого университета Сколково и кластера Информационных технологий «Сколково –участникам. Участники – Сколково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вещание в Правительстве по созданию культурных центров в регионах России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05576" y="1402090"/>
            <a:ext cx="8058995" cy="830997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1-03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При поддержке Фонда «Сколково» прошла Третья Московская международная научно-практическая конференция «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ммунофизиология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: </a:t>
            </a:r>
            <a:r>
              <a:rPr lang="ru-RU" sz="12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утоиммунитет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Норме и Патологии и вопросы предиктивно-превентивной медицины»</a:t>
            </a:r>
          </a:p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02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Открытие </a:t>
            </a:r>
            <a:r>
              <a:rPr lang="en-US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I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ждународного Фестиваля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актуального научного кино 36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°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573694" y="2325809"/>
            <a:ext cx="3190877" cy="1384995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0.10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стоялось 3-е заседание Индустриального консультативного совета Фонда «Сколково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Гиперкубе «Сколково» прошла Российско-Американская президентская комиссия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26555" y="2357870"/>
            <a:ext cx="397994" cy="123036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V="1">
            <a:off x="4852430" y="3815426"/>
            <a:ext cx="749024" cy="4047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V="1">
            <a:off x="5218359" y="2325809"/>
            <a:ext cx="355336" cy="95721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3234725" y="4277091"/>
            <a:ext cx="389824" cy="8532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120309" y="3966073"/>
            <a:ext cx="1453386" cy="149644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Title 1"/>
          <p:cNvSpPr txBox="1">
            <a:spLocks/>
          </p:cNvSpPr>
          <p:nvPr/>
        </p:nvSpPr>
        <p:spPr>
          <a:xfrm>
            <a:off x="2195926" y="405694"/>
            <a:ext cx="6104011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события Фонд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2)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2000" i="1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026227" y="527784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573692" y="4518795"/>
            <a:ext cx="3190879" cy="646331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6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Технопарке Сколково состоялась</a:t>
            </a:r>
          </a:p>
          <a:p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инвестиционная сессия VC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Day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3226555" y="3179560"/>
            <a:ext cx="397994" cy="78651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5573695" y="5462514"/>
            <a:ext cx="3190876" cy="1015663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1.10 </a:t>
            </a:r>
            <a:r>
              <a:rPr lang="ru-RU" sz="1200" dirty="0"/>
              <a:t>–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Гиперкубе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Сколково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шла экспертная сессия по оценке эффективности государственных институтов развития</a:t>
            </a:r>
          </a:p>
          <a:p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425552" y="5462515"/>
            <a:ext cx="1983069" cy="1015663"/>
          </a:xfrm>
          <a:prstGeom prst="rect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10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Центре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gitaloctober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остоялась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itch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сессия кластера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Энергоэффективных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технологий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Сколково»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 flipV="1">
            <a:off x="3425552" y="3588239"/>
            <a:ext cx="584588" cy="187427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29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972862"/>
              </p:ext>
            </p:extLst>
          </p:nvPr>
        </p:nvGraphicFramePr>
        <p:xfrm>
          <a:off x="3529628" y="2934989"/>
          <a:ext cx="1830231" cy="2266227"/>
        </p:xfrm>
        <a:graphic>
          <a:graphicData uri="http://schemas.openxmlformats.org/drawingml/2006/table">
            <a:tbl>
              <a:tblPr bandRow="1">
                <a:tableStyleId>{68D230F3-CF80-4859-8CE7-A43EE81993B5}</a:tableStyleId>
              </a:tblPr>
              <a:tblGrid>
                <a:gridCol w="366046"/>
                <a:gridCol w="366046"/>
                <a:gridCol w="366046"/>
                <a:gridCol w="364827"/>
                <a:gridCol w="367266"/>
              </a:tblGrid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8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9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9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7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8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227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9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1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7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  <a:tr h="26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7</a:t>
                      </a:r>
                      <a:endParaRPr lang="ru-RU" sz="1000" b="0" kern="1200" dirty="0">
                        <a:solidFill>
                          <a:srgbClr val="FF66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0" kern="1200" dirty="0" smtClean="0">
                          <a:latin typeface="Arial"/>
                          <a:cs typeface="Arial"/>
                        </a:rPr>
                        <a:t>21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8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</a:tr>
            </a:tbl>
          </a:graphicData>
        </a:graphic>
      </p:graphicFrame>
      <p:cxnSp>
        <p:nvCxnSpPr>
          <p:cNvPr id="43" name="Прямая соединительная линия 42"/>
          <p:cNvCxnSpPr/>
          <p:nvPr/>
        </p:nvCxnSpPr>
        <p:spPr>
          <a:xfrm>
            <a:off x="3807818" y="2233087"/>
            <a:ext cx="0" cy="139491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584289" y="3815426"/>
            <a:ext cx="3190879" cy="461665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25.10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Фонд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Сколково»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инял участие в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Global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Energy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rize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ummit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852430" y="4319755"/>
            <a:ext cx="749024" cy="205623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997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505925"/>
              </p:ext>
            </p:extLst>
          </p:nvPr>
        </p:nvGraphicFramePr>
        <p:xfrm>
          <a:off x="426308" y="1438298"/>
          <a:ext cx="8717693" cy="475466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365586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4805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. Общее число участников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10,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37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6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. Количество заявок на получение статуса участника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 1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января по 31 октября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2г. поступило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035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заявок, из них 211 заявок в сентябре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205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. Средние сроки принятия решений о предоставлении,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: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статуса участника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с предварительным одобрением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статуса участник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без предварительного одобрения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грантов участникам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&lt;45</a:t>
                      </a: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&lt;31</a:t>
                      </a: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&lt;100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) 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)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9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)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дней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6657574" y="2646028"/>
            <a:ext cx="1959056" cy="283384"/>
            <a:chOff x="157810" y="1918796"/>
            <a:chExt cx="3877126" cy="283384"/>
          </a:xfrm>
        </p:grpSpPr>
        <p:sp>
          <p:nvSpPr>
            <p:cNvPr id="3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4" name="Rounded Rectangle 33"/>
            <p:cNvSpPr/>
            <p:nvPr/>
          </p:nvSpPr>
          <p:spPr bwMode="auto">
            <a:xfrm>
              <a:off x="164951" y="1945004"/>
              <a:ext cx="3193390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81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5" name="Rectangle 23"/>
          <p:cNvSpPr/>
          <p:nvPr/>
        </p:nvSpPr>
        <p:spPr>
          <a:xfrm>
            <a:off x="6657574" y="3541354"/>
            <a:ext cx="21825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роки </a:t>
            </a:r>
            <a:r>
              <a:rPr lang="ru-RU" sz="11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инятия </a:t>
            </a:r>
            <a:r>
              <a:rPr lang="ru-RU" sz="11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шений, дни</a:t>
            </a:r>
            <a:endParaRPr lang="ru-RU" sz="11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idx="4294967295"/>
          </p:nvPr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4" name="Group 31"/>
          <p:cNvGrpSpPr/>
          <p:nvPr/>
        </p:nvGrpSpPr>
        <p:grpSpPr>
          <a:xfrm>
            <a:off x="6653958" y="2024862"/>
            <a:ext cx="1959055" cy="283384"/>
            <a:chOff x="157810" y="1918796"/>
            <a:chExt cx="3877126" cy="283384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72388" y="1945004"/>
              <a:ext cx="3862548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4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4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6899924"/>
              </p:ext>
            </p:extLst>
          </p:nvPr>
        </p:nvGraphicFramePr>
        <p:xfrm>
          <a:off x="6661323" y="3802964"/>
          <a:ext cx="2087621" cy="232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3277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474258"/>
            <a:ext cx="769133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сообщений о Фонде «Сколково» в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6115166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о «Сколково» в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МИ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2)</a:t>
            </a:r>
            <a:endParaRPr lang="ru-RU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526886"/>
              </p:ext>
            </p:extLst>
          </p:nvPr>
        </p:nvGraphicFramePr>
        <p:xfrm>
          <a:off x="857755" y="1954753"/>
          <a:ext cx="2601541" cy="2318318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439551"/>
                <a:gridCol w="1161990"/>
              </a:tblGrid>
              <a:tr h="4426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тегория СМИ</a:t>
                      </a:r>
                      <a:r>
                        <a:rPr lang="ru-RU" sz="1400" b="0" u="none" strike="noStrike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личество</a:t>
                      </a:r>
                      <a:r>
                        <a:rPr lang="ru-RU" sz="1400" b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ообщений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тернет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64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формагентства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6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710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азеты</a:t>
                      </a:r>
                      <a:endParaRPr lang="ru-RU" sz="1200" b="1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4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3281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урналы</a:t>
                      </a:r>
                      <a:endParaRPr lang="ru-RU" sz="1200" b="1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0571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левидение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3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605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дио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8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1861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4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773586" y="4344586"/>
            <a:ext cx="2994183" cy="203132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октябре количество сообщений и упоминаний о Фонде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величилось на радио (на 60%) в Интернете (на 25%), в информационных агентствах (на 20%) и в печатных СМИ (на 4%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кратилось на телевидении (на 18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%)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697693"/>
              </p:ext>
            </p:extLst>
          </p:nvPr>
        </p:nvGraphicFramePr>
        <p:xfrm>
          <a:off x="3767770" y="1950077"/>
          <a:ext cx="4781318" cy="447760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2864384"/>
                <a:gridCol w="859316"/>
                <a:gridCol w="1057618"/>
              </a:tblGrid>
              <a:tr h="509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ма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ата 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личество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ообщений</a:t>
                      </a:r>
                      <a:endParaRPr lang="ru-RU" sz="14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69" marR="8792" marT="9525" marB="1080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648554">
                <a:tc>
                  <a:txBody>
                    <a:bodyPr/>
                    <a:lstStyle/>
                    <a:p>
                      <a:pPr marL="90488" indent="0" algn="l" fontAlgn="b">
                        <a:tabLst>
                          <a:tab pos="180975" algn="l"/>
                        </a:tabLst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изит в РФ М. </a:t>
                      </a:r>
                      <a:r>
                        <a:rPr lang="ru-RU" sz="1200" b="0" i="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укерберга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– обсуждение возможности сотрудничества со «Сколково»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1- 02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7</a:t>
                      </a:r>
                      <a:endParaRPr lang="ru-RU" sz="1200" b="0" i="0" u="none" strike="noStrike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12693">
                <a:tc>
                  <a:txBody>
                    <a:bodyPr/>
                    <a:lstStyle/>
                    <a:p>
                      <a:pPr marL="0" indent="0" algn="l">
                        <a:tabLst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нференция «Инновации в космической отрасли» в Красноярске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3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9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65376">
                <a:tc>
                  <a:txBody>
                    <a:bodyPr/>
                    <a:lstStyle/>
                    <a:p>
                      <a:pPr marL="90488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онд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«Сколково», «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нано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» и РВК создадут «черный список» 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новаторов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.10</a:t>
                      </a:r>
                    </a:p>
                    <a:p>
                      <a:pPr marL="0" algn="ctr" defTabSz="457200" rtl="0" eaLnBrk="1" fontAlgn="b" latinLnBrk="0" hangingPunct="1"/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5</a:t>
                      </a:r>
                    </a:p>
                    <a:p>
                      <a:pPr marL="0" algn="ctr" defTabSz="457200" rtl="0" eaLnBrk="1" fontAlgn="b" latinLnBrk="0" hangingPunct="1"/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вещание в Правительстве по созданию культурных центров в регионах России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1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рытие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n Innovation Week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8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искуссия на тему «Вечный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двигатель: от научной фантастики к инновации века»</a:t>
                      </a:r>
                      <a:endParaRPr lang="ru-RU" sz="1200" b="0" i="0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5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255622">
                <a:tc>
                  <a:txBody>
                    <a:bodyPr/>
                    <a:lstStyle/>
                    <a:p>
                      <a:pPr marL="90488" indent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тий международный форум «Глобальное инновационное </a:t>
                      </a:r>
                      <a:r>
                        <a:rPr lang="ru-RU" sz="1200" b="0" i="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арнерство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2»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2 - 04.10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1</a:t>
                      </a:r>
                      <a:endParaRPr lang="ru-RU" sz="1200" b="0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  <a:tr h="363189">
                <a:tc>
                  <a:txBody>
                    <a:bodyPr/>
                    <a:lstStyle/>
                    <a:p>
                      <a:pPr marL="0" indent="0" algn="l">
                        <a:tabLst/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33231" marT="9525" marB="108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66</a:t>
                      </a:r>
                      <a:endParaRPr lang="ru-RU" sz="1200" b="1" i="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3231" marR="66462" marT="9525" marB="1080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812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348429"/>
              </p:ext>
            </p:extLst>
          </p:nvPr>
        </p:nvGraphicFramePr>
        <p:xfrm>
          <a:off x="914400" y="2039192"/>
          <a:ext cx="7612654" cy="2252164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289148"/>
                <a:gridCol w="1301898"/>
                <a:gridCol w="991923"/>
                <a:gridCol w="1177907"/>
                <a:gridCol w="1425889"/>
                <a:gridCol w="1425889"/>
              </a:tblGrid>
              <a:tr h="54953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Период освещения</a:t>
                      </a:r>
                      <a:b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в СМИ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rowSpan="2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latin typeface="Arial" pitchFamily="34" charset="0"/>
                          <a:cs typeface="Arial" pitchFamily="34" charset="0"/>
                        </a:rPr>
                        <a:t>Количество сообщений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rowSpan="2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latin typeface="Arial" pitchFamily="34" charset="0"/>
                          <a:cs typeface="Arial" pitchFamily="34" charset="0"/>
                        </a:rPr>
                        <a:t>Главная </a:t>
                      </a:r>
                      <a:r>
                        <a:rPr lang="ru-RU" sz="1300" kern="1200" dirty="0" smtClean="0">
                          <a:latin typeface="Arial" pitchFamily="34" charset="0"/>
                          <a:cs typeface="Arial" pitchFamily="34" charset="0"/>
                        </a:rPr>
                        <a:t>тема</a:t>
                      </a:r>
                      <a:endParaRPr lang="ru-RU" sz="13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gridSpan="3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Характер упоминаний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 h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840278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3305" marR="63305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latin typeface="Arial" pitchFamily="34" charset="0"/>
                          <a:cs typeface="Arial" pitchFamily="34" charset="0"/>
                        </a:rPr>
                        <a:t>Негатив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latin typeface="Arial" pitchFamily="34" charset="0"/>
                          <a:cs typeface="Arial" pitchFamily="34" charset="0"/>
                        </a:rPr>
                        <a:t>Позитив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йтральный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вгуст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2 373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53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5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68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70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нтябрь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018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91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23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35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  <a:tr h="287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ктябрь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4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09</a:t>
                      </a:r>
                      <a:endParaRPr lang="ru-RU" sz="14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2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244</a:t>
                      </a:r>
                      <a:endParaRPr lang="ru-RU" sz="1400" b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 anchor="ctr"/>
                </a:tc>
              </a:tr>
            </a:tbl>
          </a:graphicData>
        </a:graphic>
      </p:graphicFrame>
      <p:sp>
        <p:nvSpPr>
          <p:cNvPr id="17" name="Rectangle 13"/>
          <p:cNvSpPr/>
          <p:nvPr/>
        </p:nvSpPr>
        <p:spPr>
          <a:xfrm>
            <a:off x="891606" y="5687670"/>
            <a:ext cx="3528392" cy="52322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егативн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–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0,5% (сентябрь - 2%, август - 5,8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57756" y="4670853"/>
            <a:ext cx="3553496" cy="9541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сообщений о Фонде «Сколково» как о главной теме составляет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33% (сентябрь - 42,7 %, август - 40,1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932040" y="4663438"/>
            <a:ext cx="3189286" cy="138499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0%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зитивны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от общего количества: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общени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 результатах работы, соглашениях, сотрудничестве, проведенных мероприятиях и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р. (сентябрь – 14%, август – 27,5%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174724" y="397314"/>
            <a:ext cx="6115166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о «Сколково» в СМИ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3)</a:t>
            </a:r>
            <a:endParaRPr lang="ru-RU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7756" y="1474258"/>
            <a:ext cx="7691333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ональность </a:t>
            </a: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общений о Фонде «Сколково» в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13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42545" y="2085535"/>
            <a:ext cx="7085915" cy="796399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я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35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.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инамика числа участников</a:t>
            </a:r>
            <a:endParaRPr lang="ru-RU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564136"/>
              </p:ext>
            </p:extLst>
          </p:nvPr>
        </p:nvGraphicFramePr>
        <p:xfrm>
          <a:off x="1362520" y="1720308"/>
          <a:ext cx="6441912" cy="3718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094038" y="1903140"/>
            <a:ext cx="6590357" cy="3314821"/>
            <a:chOff x="131527" y="3092006"/>
            <a:chExt cx="6320830" cy="3230200"/>
          </a:xfrm>
        </p:grpSpPr>
        <p:sp>
          <p:nvSpPr>
            <p:cNvPr id="10" name="Прямоугольник 14"/>
            <p:cNvSpPr/>
            <p:nvPr/>
          </p:nvSpPr>
          <p:spPr bwMode="auto">
            <a:xfrm>
              <a:off x="6029324" y="3723757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710</a:t>
              </a:r>
            </a:p>
          </p:txBody>
        </p:sp>
        <p:sp>
          <p:nvSpPr>
            <p:cNvPr id="11" name="Прямоугольник 16"/>
            <p:cNvSpPr/>
            <p:nvPr/>
          </p:nvSpPr>
          <p:spPr bwMode="auto">
            <a:xfrm>
              <a:off x="6029324" y="5079709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87</a:t>
              </a:r>
            </a:p>
          </p:txBody>
        </p:sp>
        <p:sp>
          <p:nvSpPr>
            <p:cNvPr id="12" name="Прямоугольник 17"/>
            <p:cNvSpPr/>
            <p:nvPr/>
          </p:nvSpPr>
          <p:spPr bwMode="auto">
            <a:xfrm>
              <a:off x="6029324" y="5531693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61</a:t>
              </a:r>
              <a:endParaRPr kumimoji="0" lang="ru-RU" sz="14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Прямоугольник 21"/>
            <p:cNvSpPr/>
            <p:nvPr/>
          </p:nvSpPr>
          <p:spPr bwMode="auto">
            <a:xfrm>
              <a:off x="6029324" y="5983677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67</a:t>
              </a:r>
              <a:endParaRPr kumimoji="0" lang="ru-RU" sz="14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Прямоугольник 14"/>
            <p:cNvSpPr/>
            <p:nvPr/>
          </p:nvSpPr>
          <p:spPr bwMode="auto">
            <a:xfrm>
              <a:off x="6029324" y="4175741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67</a:t>
              </a:r>
            </a:p>
          </p:txBody>
        </p:sp>
        <p:sp>
          <p:nvSpPr>
            <p:cNvPr id="21" name="Прямоугольник 14"/>
            <p:cNvSpPr/>
            <p:nvPr/>
          </p:nvSpPr>
          <p:spPr bwMode="auto">
            <a:xfrm>
              <a:off x="6029324" y="4627725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228</a:t>
              </a:r>
            </a:p>
          </p:txBody>
        </p:sp>
        <p:pic>
          <p:nvPicPr>
            <p:cNvPr id="22" name="Picture 1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5900519"/>
              <a:ext cx="602188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1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5437811"/>
              <a:ext cx="597520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533865"/>
              <a:ext cx="596742" cy="421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081892"/>
              <a:ext cx="592852" cy="42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56" y="4985837"/>
              <a:ext cx="592852" cy="42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Прямоугольник 26"/>
            <p:cNvSpPr/>
            <p:nvPr/>
          </p:nvSpPr>
          <p:spPr bwMode="auto">
            <a:xfrm>
              <a:off x="884876" y="3092006"/>
              <a:ext cx="684648" cy="3949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40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30.09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31527" y="3684322"/>
              <a:ext cx="904510" cy="3599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ВСЕГО</a:t>
              </a:r>
              <a:endPara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Прямоугольник 14"/>
            <p:cNvSpPr/>
            <p:nvPr/>
          </p:nvSpPr>
          <p:spPr bwMode="auto">
            <a:xfrm>
              <a:off x="1053783" y="3715858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673</a:t>
              </a:r>
            </a:p>
          </p:txBody>
        </p:sp>
        <p:sp>
          <p:nvSpPr>
            <p:cNvPr id="31" name="Прямоугольник 16"/>
            <p:cNvSpPr/>
            <p:nvPr/>
          </p:nvSpPr>
          <p:spPr bwMode="auto">
            <a:xfrm>
              <a:off x="1053783" y="5057860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177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Прямоугольник 17"/>
            <p:cNvSpPr/>
            <p:nvPr/>
          </p:nvSpPr>
          <p:spPr bwMode="auto">
            <a:xfrm>
              <a:off x="1053783" y="5505194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60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Прямоугольник 21"/>
            <p:cNvSpPr/>
            <p:nvPr/>
          </p:nvSpPr>
          <p:spPr bwMode="auto">
            <a:xfrm>
              <a:off x="1053783" y="5952529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400" b="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61</a:t>
              </a: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Прямоугольник 14"/>
            <p:cNvSpPr/>
            <p:nvPr/>
          </p:nvSpPr>
          <p:spPr bwMode="auto">
            <a:xfrm>
              <a:off x="1053783" y="4163192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159</a:t>
              </a:r>
            </a:p>
          </p:txBody>
        </p:sp>
        <p:sp>
          <p:nvSpPr>
            <p:cNvPr id="35" name="Прямоугольник 14"/>
            <p:cNvSpPr/>
            <p:nvPr/>
          </p:nvSpPr>
          <p:spPr bwMode="auto">
            <a:xfrm>
              <a:off x="1053783" y="4610526"/>
              <a:ext cx="423033" cy="252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ru-RU" sz="1400" b="0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25000"/>
                    </a:schemeClr>
                  </a:solidFill>
                  <a:effectLst/>
                  <a:latin typeface="Arial" pitchFamily="34" charset="0"/>
                  <a:cs typeface="Arial" pitchFamily="34" charset="0"/>
                </a:rPr>
                <a:t>216</a:t>
              </a:r>
            </a:p>
          </p:txBody>
        </p:sp>
      </p:grpSp>
      <p:sp>
        <p:nvSpPr>
          <p:cNvPr id="30" name="Прямоугольник 26"/>
          <p:cNvSpPr/>
          <p:nvPr/>
        </p:nvSpPr>
        <p:spPr bwMode="auto">
          <a:xfrm>
            <a:off x="6018835" y="1739150"/>
            <a:ext cx="1785598" cy="6828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щее число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участников на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31.10.2012</a:t>
            </a:r>
          </a:p>
        </p:txBody>
      </p:sp>
    </p:spTree>
    <p:extLst>
      <p:ext uri="{BB962C8B-B14F-4D97-AF65-F5344CB8AC3E}">
        <p14:creationId xmlns:p14="http://schemas.microsoft.com/office/powerpoint/2010/main" val="396748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2.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анты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ам</a:t>
            </a:r>
          </a:p>
        </p:txBody>
      </p:sp>
      <p:graphicFrame>
        <p:nvGraphicFramePr>
          <p:cNvPr id="52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080235"/>
              </p:ext>
            </p:extLst>
          </p:nvPr>
        </p:nvGraphicFramePr>
        <p:xfrm>
          <a:off x="1410190" y="1419225"/>
          <a:ext cx="6922152" cy="492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1465001" y="2172834"/>
            <a:ext cx="1696523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го одобрено грантов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46"/>
          <p:cNvSpPr/>
          <p:nvPr/>
        </p:nvSpPr>
        <p:spPr bwMode="auto">
          <a:xfrm>
            <a:off x="7477140" y="1428952"/>
            <a:ext cx="840545" cy="5575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Итого,</a:t>
            </a:r>
            <a:r>
              <a:rPr kumimoji="0" lang="ru-RU" sz="1200" b="0" i="0" u="none" strike="noStrike" cap="none" normalizeH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sp>
        <p:nvSpPr>
          <p:cNvPr id="55" name="Прямоугольник 49"/>
          <p:cNvSpPr/>
          <p:nvPr/>
        </p:nvSpPr>
        <p:spPr bwMode="auto">
          <a:xfrm>
            <a:off x="7520066" y="2642395"/>
            <a:ext cx="797619" cy="2179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 436,4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рямоугольник 50"/>
          <p:cNvSpPr/>
          <p:nvPr/>
        </p:nvSpPr>
        <p:spPr bwMode="auto">
          <a:xfrm>
            <a:off x="7520066" y="2197622"/>
            <a:ext cx="797619" cy="2179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5B8626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8 375,1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457419" y="2642395"/>
            <a:ext cx="1434610" cy="642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его перечислено грантов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8" name="Chart 55"/>
          <p:cNvGraphicFramePr/>
          <p:nvPr>
            <p:extLst>
              <p:ext uri="{D42A27DB-BD31-4B8C-83A1-F6EECF244321}">
                <p14:modId xmlns:p14="http://schemas.microsoft.com/office/powerpoint/2010/main" val="2296314727"/>
              </p:ext>
            </p:extLst>
          </p:nvPr>
        </p:nvGraphicFramePr>
        <p:xfrm>
          <a:off x="1465001" y="3883783"/>
          <a:ext cx="7050491" cy="2641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2250353" y="1363281"/>
            <a:ext cx="5726191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добрение и перечисление грантов по годам*, млн. руб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568234" y="3616224"/>
            <a:ext cx="7090430" cy="267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добрение и перечисление грантов в 2012 году по кластерам, млн. руб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1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189" y="6095834"/>
            <a:ext cx="715383" cy="418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173" y="6106269"/>
            <a:ext cx="711183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724" y="6095834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8426" y="6106269"/>
            <a:ext cx="709312" cy="42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310" y="6095834"/>
            <a:ext cx="716055" cy="425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32119" y="6567962"/>
            <a:ext cx="3177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* С учетом изменений по результатам приемки отчетов</a:t>
            </a:r>
            <a:endParaRPr lang="ru-RU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8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3" y="397314"/>
            <a:ext cx="6136321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влечение венчурного капитала,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финансирование</a:t>
            </a:r>
            <a:endParaRPr lang="ru-RU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216098"/>
              </p:ext>
            </p:extLst>
          </p:nvPr>
        </p:nvGraphicFramePr>
        <p:xfrm>
          <a:off x="1937929" y="2859289"/>
          <a:ext cx="4668353" cy="353533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495138"/>
                <a:gridCol w="1557728"/>
                <a:gridCol w="1615487"/>
              </a:tblGrid>
              <a:tr h="430112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писок аккредитованных инвестиционных</a:t>
                      </a:r>
                      <a:r>
                        <a:rPr lang="ru-RU" sz="1200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фондов**</a:t>
                      </a:r>
                      <a:endParaRPr lang="ru-RU" sz="1200" b="1" u="none" strike="noStrike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4772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ВФ Татарстана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oresight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axwell</a:t>
                      </a:r>
                    </a:p>
                  </a:txBody>
                  <a:tcPr marL="7620" marR="7620" marT="7620" marB="0" anchor="b">
                    <a:lnT w="12700" cmpd="sng">
                      <a:noFill/>
                    </a:lnT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ТБ Капитал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maz Capit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-Групп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xigen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К Лидер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n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ta</a:t>
                      </a:r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Group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ioproces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ftline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angaea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AVI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mhurst Capital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right Capit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Quadrig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Helix Ventures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Tech</a:t>
                      </a:r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Capital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ПИ РВК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ianz </a:t>
                      </a:r>
                      <a:r>
                        <a:rPr lang="ru-RU" sz="1200" b="1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но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2BF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mir</a:t>
                      </a:r>
                      <a:r>
                        <a:rPr lang="en-US" sz="1200" b="1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Fishma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tel Capital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ойка Диалог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беринвест</a:t>
                      </a:r>
                      <a:endParaRPr lang="ru-RU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oy Ventures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lemin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jor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ЭБ-инновации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in </a:t>
                      </a:r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inam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ermuth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VP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finnov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arag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rontier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усс-Инвест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auria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 Partners</a:t>
                      </a:r>
                    </a:p>
                  </a:txBody>
                  <a:tcPr marL="7620" marR="7620" marT="7620" marB="0" anchor="b"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venture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ППИ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Якутия</a:t>
                      </a:r>
                    </a:p>
                  </a:txBody>
                  <a:tcPr marL="7620" marR="7620" marT="7620" marB="0" anchor="b"/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 err="1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erjys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lumbus Nova</a:t>
                      </a: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xford Bioscience </a:t>
                      </a:r>
                    </a:p>
                  </a:txBody>
                  <a:tcPr marL="7620" marR="7620" marT="7620" marB="0" anchor="b">
                    <a:lnB>
                      <a:noFill/>
                    </a:lnB>
                    <a:noFill/>
                  </a:tcPr>
                </a:tc>
              </a:tr>
              <a:tr h="164786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инфико</a:t>
                      </a:r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ru-RU" sz="1200" b="1" u="none" strike="noStrike" kern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офонд</a:t>
                      </a:r>
                      <a:r>
                        <a:rPr lang="ru-RU" sz="1200" b="1" u="none" strike="noStrike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РВК</a:t>
                      </a:r>
                      <a:endParaRPr lang="en-US" sz="1200" b="1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1200" u="none" strike="noStrike" kern="1200" dirty="0">
                        <a:solidFill>
                          <a:schemeClr val="bg1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8699011"/>
              </p:ext>
            </p:extLst>
          </p:nvPr>
        </p:nvGraphicFramePr>
        <p:xfrm>
          <a:off x="877968" y="1535119"/>
          <a:ext cx="5728314" cy="1206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Прямоугольник 26"/>
          <p:cNvSpPr/>
          <p:nvPr/>
        </p:nvSpPr>
        <p:spPr bwMode="auto">
          <a:xfrm>
            <a:off x="6698823" y="2418412"/>
            <a:ext cx="758915" cy="316695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8,8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6411075" y="1332562"/>
            <a:ext cx="1183860" cy="10858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того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оглашений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 аккредитации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на сумму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normalizeH="0" baseline="0" dirty="0" smtClean="0"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уб.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1"/>
          <p:cNvSpPr/>
          <p:nvPr/>
        </p:nvSpPr>
        <p:spPr bwMode="auto">
          <a:xfrm>
            <a:off x="7931586" y="2418413"/>
            <a:ext cx="758915" cy="316695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1,0</a:t>
            </a:r>
            <a:endParaRPr lang="ru-RU" sz="12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2"/>
          <p:cNvSpPr/>
          <p:nvPr/>
        </p:nvSpPr>
        <p:spPr bwMode="auto">
          <a:xfrm>
            <a:off x="7705618" y="1332562"/>
            <a:ext cx="1275425" cy="10858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писано обязывающих договоров* об инвестировании на сумму   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normalizeH="0" baseline="0" dirty="0" smtClean="0">
                <a:solidFill>
                  <a:schemeClr val="bg1">
                    <a:lumMod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млрд. </a:t>
            </a:r>
            <a:r>
              <a:rPr lang="ru-RU" sz="12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уб.</a:t>
            </a:r>
            <a:endParaRPr kumimoji="0" lang="ru-RU" sz="1200" i="0" u="none" strike="noStrike" cap="none" normalizeH="0" baseline="0" dirty="0" smtClean="0">
              <a:solidFill>
                <a:schemeClr val="bg1">
                  <a:lumMod val="2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77967" y="6508109"/>
            <a:ext cx="42900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ru-RU" sz="7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финансирование</a:t>
            </a:r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по </a:t>
            </a:r>
            <a:r>
              <a:rPr lang="ru-RU" sz="700" dirty="0" err="1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грантовым</a:t>
            </a:r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соглашениям</a:t>
            </a:r>
          </a:p>
          <a:p>
            <a:r>
              <a:rPr lang="ru-RU" sz="7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* Жирным выделены фонды, созданные при участии ОАО «РВК» </a:t>
            </a:r>
            <a:endParaRPr lang="ru-RU" sz="700" dirty="0"/>
          </a:p>
        </p:txBody>
      </p:sp>
    </p:spTree>
    <p:extLst>
      <p:ext uri="{BB962C8B-B14F-4D97-AF65-F5344CB8AC3E}">
        <p14:creationId xmlns:p14="http://schemas.microsoft.com/office/powerpoint/2010/main" val="168567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гистрация объектов интеллектуальной собственности</a:t>
            </a:r>
          </a:p>
        </p:txBody>
      </p:sp>
      <p:graphicFrame>
        <p:nvGraphicFramePr>
          <p:cNvPr id="36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196465"/>
              </p:ext>
            </p:extLst>
          </p:nvPr>
        </p:nvGraphicFramePr>
        <p:xfrm>
          <a:off x="849664" y="1582729"/>
          <a:ext cx="7725505" cy="3728899"/>
        </p:xfrm>
        <a:graphic>
          <a:graphicData uri="http://schemas.openxmlformats.org/drawingml/2006/table">
            <a:tbl>
              <a:tblPr firstRow="1" bandRow="1"/>
              <a:tblGrid>
                <a:gridCol w="3074298"/>
                <a:gridCol w="766021"/>
                <a:gridCol w="766021"/>
                <a:gridCol w="766021"/>
                <a:gridCol w="766021"/>
                <a:gridCol w="766021"/>
                <a:gridCol w="821102"/>
              </a:tblGrid>
              <a:tr h="47261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ы</a:t>
                      </a:r>
                      <a:r>
                        <a:rPr lang="ru-RU" sz="14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 январь - сентябрь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671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ано</a:t>
                      </a:r>
                      <a:r>
                        <a:rPr lang="ru-RU" sz="14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явок: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7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8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изобретение или полезную модель, РФ</a:t>
                      </a:r>
                      <a:r>
                        <a:rPr lang="ru-RU" sz="14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 международных 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4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регистрацию товарного знака 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регистрацию</a:t>
                      </a:r>
                      <a:r>
                        <a:rPr lang="ru-RU" sz="14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 ЭВМ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оведены патентные исследования 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2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60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ступило заявок на подготовку объектов ИС 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8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ru-RU" sz="1400" b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готовлено заявок на объекты ИС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6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4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1</a:t>
                      </a:r>
                      <a:endParaRPr lang="ru-RU" sz="14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7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442" y="1651876"/>
            <a:ext cx="609029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160" y="1643668"/>
            <a:ext cx="604308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92" y="1658854"/>
            <a:ext cx="603522" cy="359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2992" y="1646266"/>
            <a:ext cx="599586" cy="359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598" y="1651875"/>
            <a:ext cx="599586" cy="359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Rectangle 17"/>
          <p:cNvSpPr/>
          <p:nvPr/>
        </p:nvSpPr>
        <p:spPr>
          <a:xfrm>
            <a:off x="849663" y="5455020"/>
            <a:ext cx="7725506" cy="738664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150000"/>
              </a:lnSpc>
              <a:buFont typeface="Arial" pitchFamily="34" charset="0"/>
              <a:buNone/>
              <a:defRPr/>
            </a:pP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 на следующий месяц:</a:t>
            </a:r>
          </a:p>
          <a:p>
            <a:pPr>
              <a:lnSpc>
                <a:spcPct val="150000"/>
              </a:lnSpc>
              <a:defRPr/>
            </a:pPr>
            <a:r>
              <a:rPr lang="en-US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           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ача заявок </a:t>
            </a:r>
            <a:r>
              <a:rPr lang="ru-RU" sz="1400" b="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 объекты ИС –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ие патентных </a:t>
            </a:r>
            <a:r>
              <a:rPr lang="ru-RU" sz="1400" b="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исследований – </a:t>
            </a:r>
            <a:r>
              <a:rPr lang="ru-RU" sz="1400" b="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84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ru-RU" sz="2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Технопарк Оказание услуг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62392"/>
              </p:ext>
            </p:extLst>
          </p:nvPr>
        </p:nvGraphicFramePr>
        <p:xfrm>
          <a:off x="418642" y="1320377"/>
          <a:ext cx="8725358" cy="54451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8119"/>
                <a:gridCol w="6687239"/>
              </a:tblGrid>
              <a:tr h="3872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слуги</a:t>
                      </a:r>
                      <a:endParaRPr lang="ru-RU" sz="16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писание</a:t>
                      </a:r>
                      <a:endParaRPr lang="ru-RU" sz="16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16379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ренда помещений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3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</a:t>
                      </a:r>
                      <a:r>
                        <a:rPr lang="ru-RU" sz="1200" kern="1200" baseline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их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9 </a:t>
                      </a:r>
                      <a:r>
                        <a:rPr lang="ru-RU" sz="1200" kern="1200" baseline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октябре)</a:t>
                      </a:r>
                      <a:r>
                        <a:rPr lang="ru-RU" sz="1200" kern="120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няли офисные помещения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8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компаний</a:t>
                      </a:r>
                      <a:r>
                        <a:rPr lang="en-US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ут в ТПС свою научно-исследовательскую и предоставляют сервисные услуги третьим лицам</a:t>
                      </a:r>
                    </a:p>
                  </a:txBody>
                  <a:tcPr marL="84406" marR="84406" marT="36000" marB="36000" anchor="ctr" horzOverflow="overflow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37667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слуги ЦКП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32 демонстрационные работы оборудования с участниками </a:t>
                      </a:r>
                      <a:endParaRPr lang="ru-RU" sz="1200" b="1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67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изово-миграционная поддержка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оритетная услуга – разрешение на работу</a:t>
                      </a:r>
                      <a:endParaRPr lang="ru-RU" sz="1200" b="1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71059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ухгалтерский и грантовый учёт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ется  консультирование по налоговым и бухгалтерским вопросам в рамках  льгот, предоставляемых  Сколково через  компании –провайдеры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учение  участников  в «Школе бухгалтеров» - проведено  7 семинаров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47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адровый центр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дется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работа по 35 заявкам на подбор персонала и консультационная работа с новыми</a:t>
                      </a: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ми проекта </a:t>
                      </a: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901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Тренинги для участников</a:t>
                      </a:r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4 тренинга и один семинар: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нинг по взаимодействию с инвесторами – 2 шт.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нинг навыка создания презентаций – 2 шт.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минар для компаний ИТ-кластера и студентов ОТУС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474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аркетинговые исследования</a:t>
                      </a:r>
                      <a:endParaRPr lang="en-US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 подписании 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договор о маркетинговом исследовании с компанией-участником «Дамаск»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  <a:alpha val="20000"/>
                      </a:schemeClr>
                    </a:solidFill>
                  </a:tcPr>
                </a:tc>
              </a:tr>
              <a:tr h="8163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ждународная деятельность</a:t>
                      </a:r>
                    </a:p>
                    <a:p>
                      <a:pPr marL="0" algn="l" defTabSz="914400" rtl="0" eaLnBrk="1" latinLnBrk="0" hangingPunct="1"/>
                      <a:endParaRPr lang="ru-RU" sz="1200" kern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ы: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минар </a:t>
                      </a: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Бостоне, США;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знес-миссии в Финляндии, Китае, Малайзии</a:t>
                      </a: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36000" marB="36000" anchor="ctr"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58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57756" y="1248633"/>
            <a:ext cx="7716228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езультаты з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кт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2174724" y="397314"/>
            <a:ext cx="5840388" cy="796399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ложение 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7.</a:t>
            </a:r>
            <a:b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екта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кола Сколково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Объект 7"/>
          <p:cNvSpPr txBox="1">
            <a:spLocks/>
          </p:cNvSpPr>
          <p:nvPr/>
        </p:nvSpPr>
        <p:spPr>
          <a:xfrm>
            <a:off x="857756" y="1616865"/>
            <a:ext cx="7716228" cy="2415308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одится редакция и адаптация разработанного технического задания на архитектурное проектирования на закупку готового проекта образовательного центра в районе D2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дется доработка концепции создания Школы Сколково в разделах:  Система организации питания, Спортивный комплекс, Центр искусств и ремесел, естественно-научная среда - музей увлекательной науки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одведены итоги взаимной экспертизы программ развития сколковских школ. Сделаны предложения по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доработке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ачата подготовка к разработке мероприятий для включение в Государственную программу развития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7758" y="4144317"/>
            <a:ext cx="7716226" cy="36933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ланы на </a:t>
            </a:r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ноябрь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Объект 7"/>
          <p:cNvSpPr txBox="1">
            <a:spLocks/>
          </p:cNvSpPr>
          <p:nvPr/>
        </p:nvSpPr>
        <p:spPr>
          <a:xfrm>
            <a:off x="857756" y="4505253"/>
            <a:ext cx="7716228" cy="2041329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/>
          <a:lstStyle>
            <a:lvl1pPr marL="35718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14375" indent="-35083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071563" indent="-3698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797050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154238" indent="-3571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algn="just">
              <a:lnSpc>
                <a:spcPct val="110000"/>
              </a:lnSpc>
              <a:spcBef>
                <a:spcPts val="0"/>
              </a:spcBef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endParaRPr lang="ru-RU" sz="13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0"/>
              </a:spcBef>
              <a:buClr>
                <a:schemeClr val="bg1">
                  <a:lumMod val="25000"/>
                </a:schemeClr>
              </a:buClr>
              <a:buNone/>
            </a:pPr>
            <a:endParaRPr lang="en-US" sz="1300" b="0" dirty="0" smtClean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57758" y="4557700"/>
            <a:ext cx="7716226" cy="1988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огласование с Минобрнауки, компанией Майкрософт и регионами проекта Соглашения о реализации программ развития сколковских школ в регионах</a:t>
            </a: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ебинар со сколковскими школами по разработке мероприятий для включение в Государственную программу развития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оведение публичных слушаний по программе развития в одной из сколковских школ в регионах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оссии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57188" indent="-357188" algn="just" eaLnBrk="0" fontAlgn="base" hangingPunct="0">
              <a:lnSpc>
                <a:spcPct val="110000"/>
              </a:lnSpc>
              <a:buClr>
                <a:schemeClr val="bg1">
                  <a:lumMod val="25000"/>
                </a:schemeClr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Заседание Экспертного совета «Школа Сколково» по вопросам включения сколковских школ в Государственную программу развития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бразования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49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mp:transition xmlns:mp="http://schemas.microsoft.com/office/mac/powerpoint/2008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911985"/>
              </p:ext>
            </p:extLst>
          </p:nvPr>
        </p:nvGraphicFramePr>
        <p:xfrm>
          <a:off x="426308" y="1438299"/>
          <a:ext cx="8717693" cy="539878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918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086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.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личество грантов, одобренных к выделению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добрена выдача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2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рантов, из них 4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00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. Сумма грантов, одобренных к выделению, млн. руб. 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 3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добрено к выдаче  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752,1 млн. руб.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 из них 63,1 млн. руб. в октябре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81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. Суммарный объем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грантов, перечисленных Фондом, млн. руб.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21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течение 2012 г. Фондом перечислено грантов на сумму </a:t>
                      </a:r>
                      <a:r>
                        <a:rPr lang="ru-RU" sz="1200" b="1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347,6 млн. руб.</a:t>
                      </a:r>
                      <a:r>
                        <a:rPr lang="ru-RU" sz="1200" b="0" kern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из них 162,9 млн. руб. в сентябре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30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. Средняя доля </a:t>
                      </a:r>
                      <a:r>
                        <a:rPr lang="ru-RU" sz="1200" b="1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финансирования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роектов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0%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Доля </a:t>
                      </a:r>
                      <a:r>
                        <a:rPr lang="ru-RU" sz="1200" b="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финансирования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200" b="0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грантовым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оглашениям 2012г.  составляет 36% с учетом ЦПИ и 41%  без учета ЦПИ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39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8.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Количество поданных заявок на регистрацию объектов ИС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За 10 месяцев 2012г. было подано </a:t>
                      </a:r>
                      <a:r>
                        <a:rPr lang="ru-RU" sz="1200" b="1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3</a:t>
                      </a:r>
                      <a:r>
                        <a:rPr lang="ru-RU" sz="1200" b="0" u="none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заявок на объекты ИС, из них 19 заявок в октябре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653958" y="2024862"/>
            <a:ext cx="1959056" cy="283384"/>
            <a:chOff x="157810" y="1918796"/>
            <a:chExt cx="3877126" cy="283384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64951" y="1945004"/>
              <a:ext cx="2756251" cy="257176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8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167198" y="3993813"/>
            <a:ext cx="2775264" cy="1705253"/>
            <a:chOff x="2895036" y="4359880"/>
            <a:chExt cx="2862570" cy="1705253"/>
          </a:xfrm>
        </p:grpSpPr>
        <p:graphicFrame>
          <p:nvGraphicFramePr>
            <p:cNvPr id="22" name="Chart 3"/>
            <p:cNvGraphicFramePr/>
            <p:nvPr>
              <p:extLst>
                <p:ext uri="{D42A27DB-BD31-4B8C-83A1-F6EECF244321}">
                  <p14:modId xmlns:p14="http://schemas.microsoft.com/office/powerpoint/2010/main" val="40202718"/>
                </p:ext>
              </p:extLst>
            </p:nvPr>
          </p:nvGraphicFramePr>
          <p:xfrm>
            <a:off x="2895036" y="4359880"/>
            <a:ext cx="1718617" cy="13914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3" name="Chart 48"/>
            <p:cNvGraphicFramePr/>
            <p:nvPr>
              <p:extLst>
                <p:ext uri="{D42A27DB-BD31-4B8C-83A1-F6EECF244321}">
                  <p14:modId xmlns:p14="http://schemas.microsoft.com/office/powerpoint/2010/main" val="4232592242"/>
                </p:ext>
              </p:extLst>
            </p:nvPr>
          </p:nvGraphicFramePr>
          <p:xfrm>
            <a:off x="4038989" y="4400970"/>
            <a:ext cx="1718617" cy="13914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8" name="TextBox 27"/>
            <p:cNvSpPr txBox="1"/>
            <p:nvPr/>
          </p:nvSpPr>
          <p:spPr>
            <a:xfrm>
              <a:off x="3332626" y="4436127"/>
              <a:ext cx="12781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С учетом грантов ЦПИ</a:t>
              </a:r>
              <a:endParaRPr lang="ru-RU" sz="10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493708" y="4436127"/>
              <a:ext cx="11765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Без учета грантов ЦПИ</a:t>
              </a:r>
              <a:endParaRPr lang="ru-RU" sz="1000" b="1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49"/>
            <p:cNvSpPr/>
            <p:nvPr/>
          </p:nvSpPr>
          <p:spPr>
            <a:xfrm>
              <a:off x="3541808" y="5604118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ectangle 50"/>
            <p:cNvSpPr/>
            <p:nvPr/>
          </p:nvSpPr>
          <p:spPr>
            <a:xfrm>
              <a:off x="3541376" y="5781910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658860" y="5511135"/>
              <a:ext cx="177115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Доля грантов Сколково</a:t>
              </a:r>
              <a:endParaRPr lang="en-US" sz="10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Доля со-финансирования</a:t>
              </a:r>
              <a:endParaRPr lang="en-US" sz="10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ru-RU" sz="1000" dirty="0" smtClean="0">
                  <a:solidFill>
                    <a:schemeClr val="bg1">
                      <a:lumMod val="25000"/>
                    </a:schemeClr>
                  </a:solidFill>
                  <a:latin typeface="Arial" pitchFamily="34" charset="0"/>
                  <a:cs typeface="Arial" pitchFamily="34" charset="0"/>
                </a:rPr>
                <a:t>Целевое значение</a:t>
              </a:r>
              <a:endParaRPr lang="ru-RU" sz="10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7" name="Прямая соединительная линия 36"/>
            <p:cNvCxnSpPr/>
            <p:nvPr/>
          </p:nvCxnSpPr>
          <p:spPr>
            <a:xfrm flipH="1">
              <a:off x="4544437" y="5096089"/>
              <a:ext cx="353860" cy="219693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H="1">
              <a:off x="3524889" y="5061712"/>
              <a:ext cx="232554" cy="225425"/>
            </a:xfrm>
            <a:prstGeom prst="line">
              <a:avLst/>
            </a:prstGeom>
            <a:ln w="12700">
              <a:solidFill>
                <a:srgbClr val="00B2FF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3518621" y="5999706"/>
              <a:ext cx="159540" cy="0"/>
            </a:xfrm>
            <a:prstGeom prst="line">
              <a:avLst/>
            </a:prstGeom>
            <a:ln w="12700">
              <a:solidFill>
                <a:srgbClr val="00B2FF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1"/>
          <p:cNvGrpSpPr/>
          <p:nvPr/>
        </p:nvGrpSpPr>
        <p:grpSpPr>
          <a:xfrm>
            <a:off x="6667903" y="3339312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4"/>
              <a:ext cx="1989148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8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648970" y="2718177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4" y="1945003"/>
              <a:ext cx="1867767" cy="252567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648970" y="5977737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3869983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1116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1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7448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536715"/>
              </p:ext>
            </p:extLst>
          </p:nvPr>
        </p:nvGraphicFramePr>
        <p:xfrm>
          <a:off x="426308" y="1438301"/>
          <a:ext cx="8717693" cy="536524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3426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805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. Коэффициент полезного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спользования оборудования</a:t>
                      </a:r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%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Загрузка введенного в эксплуатацию оборудования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оставляет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7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. Количество созданных ЦКП и ЦКО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зданы ЦКП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 Микроанализ»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Прототипирование»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4 лаборатории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Оптоэлектроника»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1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1. Доля участников, пользующихся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ервисами Технопарка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%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изнес-тренеры работают с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1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участниками, в октябре проведено 14 мероприятий</a:t>
                      </a:r>
                      <a:endParaRPr lang="ru-RU" sz="10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20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2. Доход Технопарка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т предоставления услуг, млн. руб.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&gt;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49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 млн. руб.,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5,5 млн. руб. в сентябре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464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3. Количество студентов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очные/ сетевые программы)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0 / 2 500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щее количество студентов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Москве, Томске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-Пб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0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ивлекаются слушатели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очной и онлайн формах: 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0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– участников мероприятий </a:t>
                      </a:r>
                      <a:r>
                        <a:rPr lang="ru-RU" sz="1200" b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УС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 5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0 – зрителей онлайн-трансляций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 10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 – просмотров видео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637756" y="2022471"/>
            <a:ext cx="1922050" cy="309620"/>
            <a:chOff x="157810" y="1935480"/>
            <a:chExt cx="3877126" cy="309620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164952" y="1935480"/>
              <a:ext cx="2508259" cy="266699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701802" y="1968101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oup 31"/>
          <p:cNvGrpSpPr/>
          <p:nvPr/>
        </p:nvGrpSpPr>
        <p:grpSpPr>
          <a:xfrm>
            <a:off x="6631734" y="3753651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3"/>
              <a:ext cx="1711489" cy="257177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4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635344" y="2816003"/>
            <a:ext cx="1959057" cy="283384"/>
            <a:chOff x="157808" y="1918796"/>
            <a:chExt cx="3877128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57808" y="1932088"/>
              <a:ext cx="3877124" cy="257176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87945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0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637755" y="4346713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1365606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29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3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2" name="Group 31"/>
          <p:cNvGrpSpPr/>
          <p:nvPr/>
        </p:nvGrpSpPr>
        <p:grpSpPr>
          <a:xfrm>
            <a:off x="6641365" y="5594278"/>
            <a:ext cx="1959056" cy="283384"/>
            <a:chOff x="157810" y="1918796"/>
            <a:chExt cx="3877126" cy="283384"/>
          </a:xfrm>
        </p:grpSpPr>
        <p:sp>
          <p:nvSpPr>
            <p:cNvPr id="2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8" name="Rounded Rectangle 33"/>
            <p:cNvSpPr/>
            <p:nvPr/>
          </p:nvSpPr>
          <p:spPr bwMode="auto">
            <a:xfrm>
              <a:off x="164952" y="1945004"/>
              <a:ext cx="3702080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4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6068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438065"/>
              </p:ext>
            </p:extLst>
          </p:nvPr>
        </p:nvGraphicFramePr>
        <p:xfrm>
          <a:off x="426308" y="1438301"/>
          <a:ext cx="8717693" cy="534626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7957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931187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Доля студентов, вовлеченных в экосистему «Сколково»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5 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3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тудента стали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участниками или сотрудниками компаний, участвующих в реализации Проекта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92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Количество исследовательских центров Сколтех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ринято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решение о создании 3 центров. Ведутся переговоры с университетами-партнерами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037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Размер ФЦК, млрд. руб.</a:t>
                      </a:r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,5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лучены взносы и </a:t>
                      </a: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исьменные обязательства на общую сумму </a:t>
                      </a:r>
                      <a:r>
                        <a:rPr lang="ru-RU" sz="1200" b="1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9</a:t>
                      </a: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млрд. руб., из них взносов на сумму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46 млрд. руб.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18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7. Количество Школ, вошедших в Ассоциацию</a:t>
                      </a:r>
                    </a:p>
                    <a:p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Учредительные документы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Ассоциации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огласованы с Правовым департаментом Фонда, направлены на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регистрацию в Минюст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03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. Реализация концепции развития школы в соответствии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аном на 2012 год</a:t>
                      </a:r>
                    </a:p>
                    <a:p>
                      <a:endParaRPr lang="ru-RU" sz="120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</a:p>
                    <a:p>
                      <a:pPr algn="ctr"/>
                      <a:endParaRPr lang="ru-RU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kern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абатывается проект ТЗ на закупку и адаптацию  готового архитектурного проекта Семейного кампуса в районе Д2</a:t>
                      </a:r>
                      <a:endParaRPr lang="en-US" sz="1200" b="0" kern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40" name="Group 31"/>
          <p:cNvGrpSpPr/>
          <p:nvPr/>
        </p:nvGrpSpPr>
        <p:grpSpPr>
          <a:xfrm>
            <a:off x="6533652" y="3100747"/>
            <a:ext cx="1959056" cy="283384"/>
            <a:chOff x="157810" y="1918796"/>
            <a:chExt cx="3877126" cy="283384"/>
          </a:xfrm>
        </p:grpSpPr>
        <p:sp>
          <p:nvSpPr>
            <p:cNvPr id="4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2" name="Rounded Rectangle 33"/>
            <p:cNvSpPr/>
            <p:nvPr/>
          </p:nvSpPr>
          <p:spPr bwMode="auto">
            <a:xfrm>
              <a:off x="164952" y="1945003"/>
              <a:ext cx="3438926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668395" y="1918796"/>
              <a:ext cx="97502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</a:t>
              </a: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533652" y="2211948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1" y="1945004"/>
              <a:ext cx="364435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562821" y="3957614"/>
            <a:ext cx="1959056" cy="283384"/>
            <a:chOff x="157810" y="1918796"/>
            <a:chExt cx="3877125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5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4" y="1945004"/>
              <a:ext cx="62801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4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2" name="Group 31"/>
          <p:cNvGrpSpPr/>
          <p:nvPr/>
        </p:nvGrpSpPr>
        <p:grpSpPr>
          <a:xfrm>
            <a:off x="6562821" y="5198968"/>
            <a:ext cx="1959056" cy="283384"/>
            <a:chOff x="157810" y="1918796"/>
            <a:chExt cx="3877126" cy="283384"/>
          </a:xfrm>
        </p:grpSpPr>
        <p:sp>
          <p:nvSpPr>
            <p:cNvPr id="23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8" name="Rounded Rectangle 33"/>
            <p:cNvSpPr/>
            <p:nvPr/>
          </p:nvSpPr>
          <p:spPr bwMode="auto">
            <a:xfrm>
              <a:off x="164951" y="1945004"/>
              <a:ext cx="3644353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2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31"/>
          <p:cNvGrpSpPr/>
          <p:nvPr/>
        </p:nvGrpSpPr>
        <p:grpSpPr>
          <a:xfrm>
            <a:off x="6507620" y="6125963"/>
            <a:ext cx="1959056" cy="283384"/>
            <a:chOff x="157810" y="1918796"/>
            <a:chExt cx="3877126" cy="283384"/>
          </a:xfrm>
        </p:grpSpPr>
        <p:sp>
          <p:nvSpPr>
            <p:cNvPr id="3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25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6" name="Rounded Rectangle 33"/>
          <p:cNvSpPr/>
          <p:nvPr/>
        </p:nvSpPr>
        <p:spPr bwMode="auto">
          <a:xfrm>
            <a:off x="6533652" y="6153461"/>
            <a:ext cx="759668" cy="255886"/>
          </a:xfrm>
          <a:prstGeom prst="roundRect">
            <a:avLst>
              <a:gd name="adj" fmla="val 43090"/>
            </a:avLst>
          </a:prstGeom>
          <a:solidFill>
            <a:srgbClr val="C8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h="6350" prst="coolSlant"/>
          </a:sp3d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966014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480782"/>
              </p:ext>
            </p:extLst>
          </p:nvPr>
        </p:nvGraphicFramePr>
        <p:xfrm>
          <a:off x="426308" y="1438301"/>
          <a:ext cx="8717693" cy="39124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39884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583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9. Объемы площадей, сданных в эксплуатацию, кв. м.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 136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строено и открыто здание «Гиперкуб» площадью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000 </a:t>
                      </a:r>
                      <a:r>
                        <a:rPr lang="ru-RU" sz="1200" b="1" baseline="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в.м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endParaRPr lang="ru-RU" sz="120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816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. Исполнение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бюджета на строительство города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 948 млн. руб.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м оплаченных и подписанных к исполнению в 2012 обязательств составляет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9 298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, из них оплаченны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 979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 (из них за сентябрь 3 363 и 260 млн. руб. соответственно)</a:t>
                      </a: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7698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. Исполнение бюджета Фонда</a:t>
                      </a: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2 326</a:t>
                      </a:r>
                      <a:b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млн. руб.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ъем оплаченных и подписанных к исполнению в 2012 обязательств составляет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 098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, из них оплаченны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 341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лн. руб. (из них за сентябр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2FF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 846 и 1 040 млн. руб. соответственно)</a:t>
                      </a:r>
                      <a:endParaRPr lang="en-US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000" marB="18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1" name="Group 2"/>
          <p:cNvGrpSpPr/>
          <p:nvPr/>
        </p:nvGrpSpPr>
        <p:grpSpPr>
          <a:xfrm>
            <a:off x="6625893" y="4291564"/>
            <a:ext cx="2036796" cy="285776"/>
            <a:chOff x="3314850" y="6266506"/>
            <a:chExt cx="2036796" cy="285776"/>
          </a:xfrm>
        </p:grpSpPr>
        <p:grpSp>
          <p:nvGrpSpPr>
            <p:cNvPr id="22" name="Group 24"/>
            <p:cNvGrpSpPr/>
            <p:nvPr/>
          </p:nvGrpSpPr>
          <p:grpSpPr>
            <a:xfrm>
              <a:off x="3314850" y="6266506"/>
              <a:ext cx="2036796" cy="285776"/>
              <a:chOff x="157810" y="1916404"/>
              <a:chExt cx="3877126" cy="285776"/>
            </a:xfrm>
          </p:grpSpPr>
          <p:sp>
            <p:nvSpPr>
              <p:cNvPr id="28" name="Rounded Rectangle 25"/>
              <p:cNvSpPr/>
              <p:nvPr/>
            </p:nvSpPr>
            <p:spPr bwMode="auto">
              <a:xfrm>
                <a:off x="157810" y="1935480"/>
                <a:ext cx="3877126" cy="266700"/>
              </a:xfrm>
              <a:prstGeom prst="roundRect">
                <a:avLst>
                  <a:gd name="adj" fmla="val 44011"/>
                </a:avLst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softRound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Rounded Rectangle 26"/>
              <p:cNvSpPr/>
              <p:nvPr/>
            </p:nvSpPr>
            <p:spPr bwMode="auto">
              <a:xfrm>
                <a:off x="164952" y="1945004"/>
                <a:ext cx="2131443" cy="248400"/>
              </a:xfrm>
              <a:prstGeom prst="roundRect">
                <a:avLst>
                  <a:gd name="adj" fmla="val 43090"/>
                </a:avLst>
              </a:prstGeom>
              <a:solidFill>
                <a:schemeClr val="accent6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coolSlant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296395" y="1916404"/>
                <a:ext cx="93433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52%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Rounded Rectangle 13"/>
            <p:cNvSpPr/>
            <p:nvPr/>
          </p:nvSpPr>
          <p:spPr bwMode="auto">
            <a:xfrm>
              <a:off x="3318602" y="6296694"/>
              <a:ext cx="641488" cy="246811"/>
            </a:xfrm>
            <a:prstGeom prst="roundRect">
              <a:avLst>
                <a:gd name="adj" fmla="val 43090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6565290" y="3201927"/>
            <a:ext cx="2073043" cy="261610"/>
            <a:chOff x="3304925" y="5144079"/>
            <a:chExt cx="2073043" cy="261610"/>
          </a:xfrm>
        </p:grpSpPr>
        <p:sp>
          <p:nvSpPr>
            <p:cNvPr id="32" name="TextBox 31"/>
            <p:cNvSpPr txBox="1"/>
            <p:nvPr/>
          </p:nvSpPr>
          <p:spPr>
            <a:xfrm>
              <a:off x="3343453" y="5144079"/>
              <a:ext cx="203451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/>
                <a:t>Касса	 Касса + обязательства</a:t>
              </a:r>
              <a:endParaRPr lang="ru-RU" sz="1100" dirty="0"/>
            </a:p>
          </p:txBody>
        </p:sp>
        <p:sp>
          <p:nvSpPr>
            <p:cNvPr id="33" name="Rectangle 3"/>
            <p:cNvSpPr/>
            <p:nvPr/>
          </p:nvSpPr>
          <p:spPr>
            <a:xfrm>
              <a:off x="3304925" y="5220909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4" name="Rectangle 28"/>
            <p:cNvSpPr/>
            <p:nvPr/>
          </p:nvSpPr>
          <p:spPr>
            <a:xfrm>
              <a:off x="3815713" y="5237993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35" name="Group 2"/>
          <p:cNvGrpSpPr/>
          <p:nvPr/>
        </p:nvGrpSpPr>
        <p:grpSpPr>
          <a:xfrm>
            <a:off x="6644713" y="2844676"/>
            <a:ext cx="2029789" cy="291153"/>
            <a:chOff x="3314850" y="6285582"/>
            <a:chExt cx="2036796" cy="291153"/>
          </a:xfrm>
        </p:grpSpPr>
        <p:grpSp>
          <p:nvGrpSpPr>
            <p:cNvPr id="36" name="Group 24"/>
            <p:cNvGrpSpPr/>
            <p:nvPr/>
          </p:nvGrpSpPr>
          <p:grpSpPr>
            <a:xfrm>
              <a:off x="3314850" y="6285582"/>
              <a:ext cx="2036796" cy="291153"/>
              <a:chOff x="157810" y="1935480"/>
              <a:chExt cx="3877126" cy="291153"/>
            </a:xfrm>
          </p:grpSpPr>
          <p:sp>
            <p:nvSpPr>
              <p:cNvPr id="38" name="Rounded Rectangle 25"/>
              <p:cNvSpPr/>
              <p:nvPr/>
            </p:nvSpPr>
            <p:spPr bwMode="auto">
              <a:xfrm>
                <a:off x="157810" y="1935480"/>
                <a:ext cx="3877126" cy="266700"/>
              </a:xfrm>
              <a:prstGeom prst="roundRect">
                <a:avLst>
                  <a:gd name="adj" fmla="val 44011"/>
                </a:avLst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softRound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Rounded Rectangle 26"/>
              <p:cNvSpPr/>
              <p:nvPr/>
            </p:nvSpPr>
            <p:spPr bwMode="auto">
              <a:xfrm>
                <a:off x="164954" y="1945004"/>
                <a:ext cx="1634096" cy="248400"/>
              </a:xfrm>
              <a:prstGeom prst="roundRect">
                <a:avLst>
                  <a:gd name="adj" fmla="val 43090"/>
                </a:avLst>
              </a:prstGeom>
              <a:solidFill>
                <a:schemeClr val="accent6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 h="6350" prst="coolSlant"/>
              </a:sp3d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1720385" y="1949634"/>
                <a:ext cx="93756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44%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7" name="Rounded Rectangle 13"/>
            <p:cNvSpPr/>
            <p:nvPr/>
          </p:nvSpPr>
          <p:spPr bwMode="auto">
            <a:xfrm>
              <a:off x="3318603" y="6296694"/>
              <a:ext cx="428868" cy="246812"/>
            </a:xfrm>
            <a:prstGeom prst="roundRect">
              <a:avLst>
                <a:gd name="adj" fmla="val 43090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6578623" y="4661111"/>
            <a:ext cx="2073043" cy="261610"/>
            <a:chOff x="3304925" y="5144079"/>
            <a:chExt cx="2073043" cy="261610"/>
          </a:xfrm>
        </p:grpSpPr>
        <p:sp>
          <p:nvSpPr>
            <p:cNvPr id="54" name="TextBox 53"/>
            <p:cNvSpPr txBox="1"/>
            <p:nvPr/>
          </p:nvSpPr>
          <p:spPr>
            <a:xfrm>
              <a:off x="3352195" y="5144079"/>
              <a:ext cx="20257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/>
                <a:t>Касса	 Касса + обязательства</a:t>
              </a:r>
              <a:endParaRPr lang="ru-RU" sz="1100" dirty="0"/>
            </a:p>
          </p:txBody>
        </p:sp>
        <p:sp>
          <p:nvSpPr>
            <p:cNvPr id="55" name="Rectangle 3"/>
            <p:cNvSpPr/>
            <p:nvPr/>
          </p:nvSpPr>
          <p:spPr>
            <a:xfrm>
              <a:off x="3304925" y="5220909"/>
              <a:ext cx="102824" cy="1079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6" name="Rectangle 28"/>
            <p:cNvSpPr/>
            <p:nvPr/>
          </p:nvSpPr>
          <p:spPr>
            <a:xfrm>
              <a:off x="3815713" y="5237993"/>
              <a:ext cx="102824" cy="1079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644713" y="2834377"/>
            <a:ext cx="511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20%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648453" y="4320165"/>
            <a:ext cx="7371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24%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0" name="Group 31"/>
          <p:cNvGrpSpPr/>
          <p:nvPr/>
        </p:nvGrpSpPr>
        <p:grpSpPr>
          <a:xfrm>
            <a:off x="6622284" y="2024142"/>
            <a:ext cx="1959056" cy="283384"/>
            <a:chOff x="157810" y="1918796"/>
            <a:chExt cx="3877126" cy="283384"/>
          </a:xfrm>
        </p:grpSpPr>
        <p:sp>
          <p:nvSpPr>
            <p:cNvPr id="51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7" name="Rounded Rectangle 33"/>
            <p:cNvSpPr/>
            <p:nvPr/>
          </p:nvSpPr>
          <p:spPr bwMode="auto">
            <a:xfrm>
              <a:off x="164952" y="1945004"/>
              <a:ext cx="3402679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9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0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5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028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97488"/>
              </p:ext>
            </p:extLst>
          </p:nvPr>
        </p:nvGraphicFramePr>
        <p:xfrm>
          <a:off x="426308" y="1438301"/>
          <a:ext cx="8717693" cy="516031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32792"/>
                <a:gridCol w="990600"/>
                <a:gridCol w="2349500"/>
                <a:gridCol w="2844801"/>
              </a:tblGrid>
              <a:tr h="44557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КПЭ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Целевое значение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а  31.10.12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ыполнения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3305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. Объем привлеченных обязательств в части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рпоративных инвестиций в компании – участники, млн. руб.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 5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писано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оглашение о создании инвестиционного фонда с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Джонсон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 Джонсон»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и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Химрар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енчурс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финансирование по 14 млн. долл.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США от каждого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течение 3 лет). Решение о создании фонда посевных инвестиций в участников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«Сколково» приняла компания </a:t>
                      </a:r>
                      <a:r>
                        <a:rPr lang="ru-RU" sz="1200" dirty="0" err="1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icrosoft</a:t>
                      </a: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, сумма взноса составит 79 млн. руб.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380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. Количество центров НИОКР, о размещении которых подписаны соглашения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200" b="1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из них 8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2012 году) 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ешения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о создании центров НИОКР приняли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2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омпании (из них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в 2012г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445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. Количество сотрудников центров НИОКР (обязательства ключевых партнеров)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0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бщая численность персонала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корпоративного парка исследований достигла 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 459 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человек</a:t>
                      </a:r>
                      <a:endParaRPr lang="ru-RU" sz="1200" b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114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лощадь центров НИОКР, о передаче которых в аренду</a:t>
                      </a:r>
                    </a:p>
                    <a:p>
                      <a:pPr>
                        <a:defRPr/>
                      </a:pP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дписаны обязывающие соглашения,</a:t>
                      </a:r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в.</a:t>
                      </a:r>
                      <a:r>
                        <a:rPr lang="ru-RU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.</a:t>
                      </a:r>
                    </a:p>
                  </a:txBody>
                  <a:tcPr marL="90000"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&gt;</a:t>
                      </a:r>
                      <a:r>
                        <a:rPr lang="en-US" sz="1200" b="1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15 000</a:t>
                      </a:r>
                      <a:endParaRPr lang="ru-RU" sz="1200" b="1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В соответствии с Программой строительства Фонда</a:t>
                      </a:r>
                      <a:r>
                        <a:rPr lang="ru-RU" sz="120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центры НИОКР ст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роятся сторонними инвесторами</a:t>
                      </a:r>
                      <a:endParaRPr lang="ru-RU" sz="1200" baseline="0" dirty="0" smtClean="0">
                        <a:solidFill>
                          <a:schemeClr val="bg1">
                            <a:lumMod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Group 31"/>
          <p:cNvGrpSpPr/>
          <p:nvPr/>
        </p:nvGrpSpPr>
        <p:grpSpPr>
          <a:xfrm>
            <a:off x="6593599" y="2293274"/>
            <a:ext cx="1992897" cy="276999"/>
            <a:chOff x="97980" y="1918796"/>
            <a:chExt cx="3936956" cy="276999"/>
          </a:xfrm>
        </p:grpSpPr>
        <p:sp>
          <p:nvSpPr>
            <p:cNvPr id="25" name="Rounded Rectangle 32"/>
            <p:cNvSpPr/>
            <p:nvPr/>
          </p:nvSpPr>
          <p:spPr bwMode="auto">
            <a:xfrm>
              <a:off x="97980" y="1935480"/>
              <a:ext cx="3936956" cy="260315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6" name="Rounded Rectangle 33"/>
            <p:cNvSpPr/>
            <p:nvPr/>
          </p:nvSpPr>
          <p:spPr bwMode="auto">
            <a:xfrm>
              <a:off x="97980" y="1945004"/>
              <a:ext cx="2373684" cy="250791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68395" y="1918796"/>
              <a:ext cx="9714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6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31"/>
          <p:cNvGrpSpPr/>
          <p:nvPr/>
        </p:nvGrpSpPr>
        <p:grpSpPr>
          <a:xfrm>
            <a:off x="6597208" y="4445206"/>
            <a:ext cx="1959056" cy="283384"/>
            <a:chOff x="157810" y="1918796"/>
            <a:chExt cx="3877126" cy="283384"/>
          </a:xfrm>
        </p:grpSpPr>
        <p:sp>
          <p:nvSpPr>
            <p:cNvPr id="45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6" name="Rounded Rectangle 33"/>
            <p:cNvSpPr/>
            <p:nvPr/>
          </p:nvSpPr>
          <p:spPr bwMode="auto">
            <a:xfrm>
              <a:off x="164952" y="1945004"/>
              <a:ext cx="3862841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68395" y="1918796"/>
              <a:ext cx="1116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1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oup 31"/>
          <p:cNvGrpSpPr/>
          <p:nvPr/>
        </p:nvGrpSpPr>
        <p:grpSpPr>
          <a:xfrm>
            <a:off x="6580287" y="5073939"/>
            <a:ext cx="1959056" cy="283384"/>
            <a:chOff x="157810" y="1918796"/>
            <a:chExt cx="3877126" cy="283384"/>
          </a:xfrm>
        </p:grpSpPr>
        <p:sp>
          <p:nvSpPr>
            <p:cNvPr id="49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0" name="Rounded Rectangle 33"/>
            <p:cNvSpPr/>
            <p:nvPr/>
          </p:nvSpPr>
          <p:spPr bwMode="auto">
            <a:xfrm>
              <a:off x="164951" y="1945004"/>
              <a:ext cx="3869984" cy="248400"/>
            </a:xfrm>
            <a:prstGeom prst="roundRect">
              <a:avLst>
                <a:gd name="adj" fmla="val 43090"/>
              </a:avLst>
            </a:prstGeom>
            <a:solidFill>
              <a:srgbClr val="C8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coolSlant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68395" y="1918796"/>
              <a:ext cx="11395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123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393191" y="-5695"/>
            <a:ext cx="7284883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195004" y="397314"/>
            <a:ext cx="60797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ючевые показатели деятельности Фонда «Сколково»                              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6/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3" name="Group 31"/>
          <p:cNvGrpSpPr/>
          <p:nvPr/>
        </p:nvGrpSpPr>
        <p:grpSpPr>
          <a:xfrm>
            <a:off x="6593598" y="6021339"/>
            <a:ext cx="1959056" cy="283384"/>
            <a:chOff x="157810" y="1918796"/>
            <a:chExt cx="3877126" cy="283384"/>
          </a:xfrm>
        </p:grpSpPr>
        <p:sp>
          <p:nvSpPr>
            <p:cNvPr id="28" name="Rounded Rectangle 32"/>
            <p:cNvSpPr/>
            <p:nvPr/>
          </p:nvSpPr>
          <p:spPr bwMode="auto">
            <a:xfrm>
              <a:off x="157810" y="1935480"/>
              <a:ext cx="3877126" cy="266700"/>
            </a:xfrm>
            <a:prstGeom prst="roundRect">
              <a:avLst>
                <a:gd name="adj" fmla="val 44011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h="6350" prst="softRound"/>
            </a:sp3d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668395" y="1918796"/>
              <a:ext cx="8032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0%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7600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1"/>
          <p:cNvSpPr/>
          <p:nvPr/>
        </p:nvSpPr>
        <p:spPr>
          <a:xfrm>
            <a:off x="846666" y="277881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4" y="1374880"/>
            <a:ext cx="588266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Компания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птоган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 запустила производство светодиодного моду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ptogan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Х10, разработанного совместно с Инновационным центром «Сколково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, запатентованна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азработка не имеет аналогов на мирово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ке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Текст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47206" y="2663014"/>
            <a:ext cx="7852722" cy="738664"/>
          </a:xfrm>
          <a:prstGeom prst="rect">
            <a:avLst/>
          </a:prstGeom>
          <a:noFill/>
          <a:ln w="9525">
            <a:solidFill>
              <a:schemeClr val="bg2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птоган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. Новые технологии света» стремится совершить прорывной переход от отдельного светодиода (что уже реализовано в технологии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hip-on-boar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») к интегрированной осветительн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истеме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36380" y="3976322"/>
            <a:ext cx="7886670" cy="30777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мире не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ществует прям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аналогов моду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Optogan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X10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/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1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46666" y="2293682"/>
            <a:ext cx="5362407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6380" y="3617846"/>
            <a:ext cx="788667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793" y="8580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25172" y="4649809"/>
            <a:ext cx="7897878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5411" y="5019210"/>
            <a:ext cx="78373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ировой рынок светодиодной осветительной техники в 2011 г. достиг объема 8,1 млрд. долл. США, при этом доля рынка светодиодного освещения составила 6% от всего рынка общего освещения в мире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18"/>
          <p:cNvSpPr/>
          <p:nvPr/>
        </p:nvSpPr>
        <p:spPr>
          <a:xfrm>
            <a:off x="825172" y="5019141"/>
            <a:ext cx="7897877" cy="889823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pic>
        <p:nvPicPr>
          <p:cNvPr id="1026" name="Picture 2" descr="http://community.sk.ru/resized-image.ashx/__size/300x150/__key/communityserver-components-groupavatars/00-00-00-01-85/4TN3WA7C869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339" y="1374880"/>
            <a:ext cx="1946589" cy="484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99012" y="858053"/>
            <a:ext cx="724038" cy="431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295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1"/>
          <p:cNvSpPr/>
          <p:nvPr/>
        </p:nvSpPr>
        <p:spPr>
          <a:xfrm>
            <a:off x="846666" y="2778814"/>
            <a:ext cx="4651300" cy="12083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1525" y="1374880"/>
            <a:ext cx="56220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оссийские инженеры из компании «Эльбрус Технологии» работают над созданием двоичного транслятора, позволяющего запускать приложения для традиционных настольных и серверных процессоров н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энергоэффективных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чипах</a:t>
            </a:r>
          </a:p>
        </p:txBody>
      </p:sp>
      <p:sp>
        <p:nvSpPr>
          <p:cNvPr id="17" name="Текст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75110" y="2741193"/>
            <a:ext cx="7876712" cy="307777"/>
          </a:xfrm>
          <a:prstGeom prst="rect">
            <a:avLst/>
          </a:prstGeom>
          <a:noFill/>
          <a:ln w="9525">
            <a:solidFill>
              <a:schemeClr val="bg2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Технология программного переноса двоичных кодов с архитектуры x86 на архитектуру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RM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75588" y="3752328"/>
            <a:ext cx="7886670" cy="954107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Всё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большее число компаний, включа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pplie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icr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alxeda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avium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Marvel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NVIDIA 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amsung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, нацелены вытеснять процессоры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Inte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/AMD с рынка при помощи решений на базе ARM, обладающих обычно заметно более низким энергопотреблением (и пока — производительностью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5438" y="2390543"/>
            <a:ext cx="5362407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5513" y="3382996"/>
            <a:ext cx="7886670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Основные преимущества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793" y="858053"/>
            <a:ext cx="710257" cy="419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94768" y="19369"/>
            <a:ext cx="4913852" cy="79639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75110" y="5058150"/>
            <a:ext cx="7897878" cy="36933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5588" y="5427482"/>
            <a:ext cx="78365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блачные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ервисы, дата-центры и кластеры, построенные на новейших серверах с архитектур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RM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Rectangle 18"/>
          <p:cNvSpPr/>
          <p:nvPr/>
        </p:nvSpPr>
        <p:spPr>
          <a:xfrm>
            <a:off x="875588" y="5427483"/>
            <a:ext cx="7897399" cy="738663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195926" y="405695"/>
            <a:ext cx="6093963" cy="6622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астники: истории успеха 			  </a:t>
            </a:r>
            <a: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2/4)</a:t>
            </a:r>
            <a:br>
              <a:rPr lang="ru-RU" sz="2000" i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2400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http://community.sk.ru/resized-image.ashx/__size/300x150/__key/communityserver-components-groupavatars/00-00-00-05-34/4TN04ETFR9XJ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795" y="1374880"/>
            <a:ext cx="1672255" cy="894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9789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4U1RLnIkqdLuGNrWYK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4U1RLnIkqdLuGNrWYK.g"/>
</p:tagLst>
</file>

<file path=ppt/theme/theme1.xml><?xml version="1.0" encoding="utf-8"?>
<a:theme xmlns:a="http://schemas.openxmlformats.org/drawingml/2006/main" name="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Skolkovo 1">
    <a:dk1>
      <a:srgbClr val="595959"/>
    </a:dk1>
    <a:lt1>
      <a:sysClr val="window" lastClr="FFFFFF"/>
    </a:lt1>
    <a:dk2>
      <a:srgbClr val="1F497D"/>
    </a:dk2>
    <a:lt2>
      <a:srgbClr val="EEECE1"/>
    </a:lt2>
    <a:accent1>
      <a:srgbClr val="C8FF00"/>
    </a:accent1>
    <a:accent2>
      <a:srgbClr val="5AD7FF"/>
    </a:accent2>
    <a:accent3>
      <a:srgbClr val="FF8200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lank">
    <a:majorFont>
      <a:latin typeface="Book Antiqua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kolkovo.thmx</Template>
  <TotalTime>10027</TotalTime>
  <Words>3606</Words>
  <Application>Microsoft Macintosh PowerPoint</Application>
  <PresentationFormat>Экран (4:3)</PresentationFormat>
  <Paragraphs>618</Paragraphs>
  <Slides>28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29" baseType="lpstr">
      <vt:lpstr>skolkovo</vt:lpstr>
      <vt:lpstr>ОТЧЕТ О РАБОТЕ ФОНДА «СКОЛКОВО» ЗА ОКТЯБРЬ 2012г</vt:lpstr>
      <vt:lpstr>Ключевые показатели деятельности Фонда «Сколково»                                (1/6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частники: истории успеха      (1/4) </vt:lpstr>
      <vt:lpstr>Презентация PowerPoint</vt:lpstr>
      <vt:lpstr>Презентация PowerPoint</vt:lpstr>
      <vt:lpstr>Презентация PowerPoint</vt:lpstr>
      <vt:lpstr>Развитие системы образования в «Сколково». Развитие проекта Сколтех</vt:lpstr>
      <vt:lpstr>Развитие системы образования в «Сколково». Развитие проекта ОтУС</vt:lpstr>
      <vt:lpstr>Технопарк «Сколково»</vt:lpstr>
      <vt:lpstr>Строительство инновационного города «Сколково»</vt:lpstr>
      <vt:lpstr>Презентация PowerPoint</vt:lpstr>
      <vt:lpstr>Презентация PowerPoint</vt:lpstr>
      <vt:lpstr>Международная PR активность Фонда «Сколково» </vt:lpstr>
      <vt:lpstr>Презентация PowerPoint</vt:lpstr>
      <vt:lpstr>Информация о «Сколково» в СМИ      (1/2)</vt:lpstr>
      <vt:lpstr>Презентация PowerPoint</vt:lpstr>
      <vt:lpstr>Приложения</vt:lpstr>
      <vt:lpstr>Приложение 1. Динамика числа участников</vt:lpstr>
      <vt:lpstr>Приложение 2.  Гранты участникам</vt:lpstr>
      <vt:lpstr>Приложение 3. Привлечение венчурного капитала, софинансирование</vt:lpstr>
      <vt:lpstr>Приложение 4. Регистрация объектов интеллектуальной собственности</vt:lpstr>
      <vt:lpstr>Приложение 6.  Технопарк Оказание услуг</vt:lpstr>
      <vt:lpstr>Приложение 7. Развитие проекта «Школа Сколково»</vt:lpstr>
    </vt:vector>
  </TitlesOfParts>
  <Company>le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ent</dc:creator>
  <cp:lastModifiedBy>Kris Bogdanova</cp:lastModifiedBy>
  <cp:revision>742</cp:revision>
  <cp:lastPrinted>2012-11-02T16:00:07Z</cp:lastPrinted>
  <dcterms:created xsi:type="dcterms:W3CDTF">2012-05-19T18:14:42Z</dcterms:created>
  <dcterms:modified xsi:type="dcterms:W3CDTF">2012-11-13T14:23:17Z</dcterms:modified>
</cp:coreProperties>
</file>